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  <p:sldMasterId id="2147483801" r:id="rId2"/>
    <p:sldMasterId id="2147483826" r:id="rId3"/>
    <p:sldMasterId id="2147483829" r:id="rId4"/>
    <p:sldMasterId id="2147483850" r:id="rId5"/>
  </p:sldMasterIdLst>
  <p:notesMasterIdLst>
    <p:notesMasterId r:id="rId14"/>
  </p:notesMasterIdLst>
  <p:sldIdLst>
    <p:sldId id="280" r:id="rId6"/>
    <p:sldId id="318" r:id="rId7"/>
    <p:sldId id="337" r:id="rId8"/>
    <p:sldId id="338" r:id="rId9"/>
    <p:sldId id="314" r:id="rId10"/>
    <p:sldId id="339" r:id="rId11"/>
    <p:sldId id="340" r:id="rId12"/>
    <p:sldId id="28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A7BB"/>
    <a:srgbClr val="D089D7"/>
    <a:srgbClr val="65BDFF"/>
    <a:srgbClr val="003F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21" autoAdjust="0"/>
    <p:restoredTop sz="94660"/>
  </p:normalViewPr>
  <p:slideViewPr>
    <p:cSldViewPr snapToGrid="0">
      <p:cViewPr varScale="1">
        <p:scale>
          <a:sx n="74" d="100"/>
          <a:sy n="74" d="100"/>
        </p:scale>
        <p:origin x="774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4E157-2E03-4BA0-98C3-D8E3837E3DCA}" type="datetimeFigureOut">
              <a:rPr lang="en-IN" smtClean="0"/>
              <a:t>14-03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6FFFF5-55B6-4DB5-A96F-4C658E04CF2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407618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jpe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jpe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roup 91"/>
          <p:cNvGrpSpPr/>
          <p:nvPr userDrawn="1"/>
        </p:nvGrpSpPr>
        <p:grpSpPr>
          <a:xfrm>
            <a:off x="0" y="716169"/>
            <a:ext cx="12192000" cy="5896666"/>
            <a:chOff x="0" y="596900"/>
            <a:chExt cx="9144000" cy="4344751"/>
          </a:xfrm>
        </p:grpSpPr>
        <p:grpSp>
          <p:nvGrpSpPr>
            <p:cNvPr id="93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4" name="Straight Connector 93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1492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12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47" name="Straight Connector 46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Straight Connector 13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rapezoid 15"/>
          <p:cNvSpPr/>
          <p:nvPr userDrawn="1"/>
        </p:nvSpPr>
        <p:spPr>
          <a:xfrm flipH="1">
            <a:off x="7264400" y="808593"/>
            <a:ext cx="4927600" cy="5772788"/>
          </a:xfrm>
          <a:prstGeom prst="trapezoid">
            <a:avLst>
              <a:gd name="adj" fmla="val 1864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IN" sz="1800" dirty="0">
              <a:solidFill>
                <a:srgbClr val="FFFFFF"/>
              </a:solidFill>
            </a:endParaRP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/>
          </p:nvPr>
        </p:nvSpPr>
        <p:spPr>
          <a:xfrm flipH="1">
            <a:off x="7344139" y="801532"/>
            <a:ext cx="4847167" cy="5779849"/>
          </a:xfrm>
          <a:custGeom>
            <a:avLst/>
            <a:gdLst/>
            <a:ahLst/>
            <a:cxnLst/>
            <a:rect l="l" t="t" r="r" b="b"/>
            <a:pathLst>
              <a:path w="3635375" h="4348163">
                <a:moveTo>
                  <a:pt x="1" y="0"/>
                </a:moveTo>
                <a:lnTo>
                  <a:pt x="626920" y="0"/>
                </a:lnTo>
                <a:lnTo>
                  <a:pt x="2766061" y="0"/>
                </a:lnTo>
                <a:lnTo>
                  <a:pt x="3008455" y="0"/>
                </a:lnTo>
                <a:lnTo>
                  <a:pt x="3635375" y="4348163"/>
                </a:lnTo>
                <a:lnTo>
                  <a:pt x="2766061" y="4348163"/>
                </a:lnTo>
                <a:lnTo>
                  <a:pt x="1" y="4348163"/>
                </a:lnTo>
                <a:lnTo>
                  <a:pt x="0" y="4348163"/>
                </a:lnTo>
                <a:lnTo>
                  <a:pt x="1" y="43481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IN" dirty="0" smtClean="0"/>
            </a:lvl1pPr>
          </a:lstStyle>
          <a:p>
            <a:endParaRPr lang="en-IN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Vertical Picture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332317" y="1016000"/>
            <a:ext cx="6872816" cy="556471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108028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13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48" name="Straight Connector 47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Straight Connector 13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Parallelogram 15"/>
          <p:cNvSpPr/>
          <p:nvPr userDrawn="1"/>
        </p:nvSpPr>
        <p:spPr>
          <a:xfrm>
            <a:off x="843280" y="922745"/>
            <a:ext cx="10759440" cy="3763556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IN" sz="1800" dirty="0">
              <a:solidFill>
                <a:srgbClr val="FFFFFF"/>
              </a:solidFill>
            </a:endParaRP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79781" y="859243"/>
            <a:ext cx="10759440" cy="3763556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Font typeface="+mj-lt"/>
              <a:buNone/>
              <a:defRPr lang="en-IN" dirty="0"/>
            </a:lvl1pPr>
          </a:lstStyle>
          <a:p>
            <a:endParaRPr lang="en-IN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Horizontal Picture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20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797328" y="4874260"/>
            <a:ext cx="9870672" cy="13995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457177" indent="0">
              <a:buNone/>
              <a:defRPr sz="1467"/>
            </a:lvl2pPr>
            <a:lvl3pPr marL="914353" indent="0">
              <a:buNone/>
              <a:defRPr sz="1467"/>
            </a:lvl3pPr>
            <a:lvl4pPr marL="1371531" indent="0">
              <a:buNone/>
              <a:defRPr sz="1467"/>
            </a:lvl4pPr>
            <a:lvl5pPr marL="1828709" indent="0">
              <a:buNone/>
              <a:defRPr sz="1467"/>
            </a:lvl5pPr>
          </a:lstStyle>
          <a:p>
            <a:pPr lvl="0"/>
            <a:r>
              <a:rPr lang="en-US" dirty="0"/>
              <a:t>Enter Text</a:t>
            </a:r>
          </a:p>
        </p:txBody>
      </p:sp>
    </p:spTree>
    <p:extLst>
      <p:ext uri="{BB962C8B-B14F-4D97-AF65-F5344CB8AC3E}">
        <p14:creationId xmlns:p14="http://schemas.microsoft.com/office/powerpoint/2010/main" val="2455101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836713"/>
            <a:ext cx="12192000" cy="5744667"/>
          </a:xfrm>
          <a:solidFill>
            <a:schemeClr val="bg1">
              <a:lumMod val="8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IN" dirty="0"/>
            </a:lvl1pPr>
          </a:lstStyle>
          <a:p>
            <a:endParaRPr lang="en-IN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Agenda with Image Background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1424" y="1220755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1424" y="1879113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11424" y="2537472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911424" y="3195831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911424" y="3854189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911424" y="4512548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11424" y="5170907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911424" y="5829267"/>
            <a:ext cx="4704523" cy="384043"/>
          </a:xfrm>
          <a:prstGeom prst="parallelogram">
            <a:avLst/>
          </a:prstGeom>
          <a:solidFill>
            <a:srgbClr val="1F1A17">
              <a:alpha val="69804"/>
            </a:srgbClr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72915" y="1220755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1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2915" y="1879113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2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72915" y="2537472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3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72915" y="3195831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4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72915" y="3854189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5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72915" y="4512548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6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372915" y="5170907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7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72915" y="5829267"/>
            <a:ext cx="538509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14419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40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70" name="Straight Connector 69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Agenda Without Image Background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1424" y="1220755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11424" y="1879113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11424" y="2537472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911424" y="3195831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911424" y="3854189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911424" y="4512548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11424" y="5170907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911424" y="5829267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72000" rIns="36000" bIns="36000" anchor="ctr">
            <a:noAutofit/>
          </a:bodyPr>
          <a:lstStyle>
            <a:lvl1pPr marL="0" indent="0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Agenda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72915" y="1220755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1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72915" y="1879113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2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72915" y="2537472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3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72915" y="3195831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4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72915" y="3854189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5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72915" y="4512548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6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372915" y="5170907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7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72915" y="5829267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2133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1551275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16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54" name="Straight Connector 53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" name="Straight Connector 16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Two Column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1424" y="1028733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67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Column 1 Title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72915" y="1028733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146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1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7114563" y="1028733"/>
            <a:ext cx="4704523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6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Column 2 Title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576054" y="1028733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146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2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406400" y="1508787"/>
            <a:ext cx="5113536" cy="4968213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z="1467" smtClean="0"/>
            </a:lvl1pPr>
            <a:lvl2pPr>
              <a:defRPr lang="en-US" sz="1467" smtClean="0"/>
            </a:lvl2pPr>
            <a:lvl3pPr>
              <a:defRPr lang="en-US" sz="1467" smtClean="0"/>
            </a:lvl3pPr>
            <a:lvl4pPr>
              <a:defRPr lang="en-US" sz="1467" smtClean="0"/>
            </a:lvl4pPr>
            <a:lvl5pPr>
              <a:defRPr lang="en-US" sz="1467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 dirty="0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 dirty="0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 dirty="0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 dirty="0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 dirty="0"/>
              <a:t>Fifth level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idx="23"/>
          </p:nvPr>
        </p:nvSpPr>
        <p:spPr>
          <a:xfrm>
            <a:off x="6576053" y="1508787"/>
            <a:ext cx="5113536" cy="4968213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z="1467" smtClean="0"/>
            </a:lvl1pPr>
            <a:lvl2pPr>
              <a:defRPr lang="en-US" sz="1467" smtClean="0"/>
            </a:lvl2pPr>
            <a:lvl3pPr>
              <a:defRPr lang="en-US" sz="1467" smtClean="0"/>
            </a:lvl3pPr>
            <a:lvl4pPr>
              <a:defRPr lang="en-US" sz="1467" smtClean="0"/>
            </a:lvl4pPr>
            <a:lvl5pPr>
              <a:defRPr lang="en-US" sz="1467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 dirty="0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 dirty="0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 dirty="0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 dirty="0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117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28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60" name="Straight Connector 59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Three Column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11424" y="1028733"/>
            <a:ext cx="2880320" cy="384043"/>
          </a:xfrm>
          <a:prstGeom prst="parallelogram">
            <a:avLst/>
          </a:prstGeom>
          <a:solidFill>
            <a:schemeClr val="bg2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67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Column 1 Title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72915" y="1028733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146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1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"/>
          </p:nvPr>
        </p:nvSpPr>
        <p:spPr>
          <a:xfrm>
            <a:off x="335360" y="1508787"/>
            <a:ext cx="3385344" cy="4968213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z="1467" smtClean="0"/>
            </a:lvl1pPr>
            <a:lvl2pPr>
              <a:defRPr lang="en-US" sz="1467" smtClean="0"/>
            </a:lvl2pPr>
            <a:lvl3pPr>
              <a:defRPr lang="en-US" sz="1467" smtClean="0"/>
            </a:lvl3pPr>
            <a:lvl4pPr>
              <a:defRPr lang="en-US" sz="1467" smtClean="0"/>
            </a:lvl4pPr>
            <a:lvl5pPr>
              <a:defRPr lang="en-US" sz="1467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 dirty="0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 dirty="0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 dirty="0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 dirty="0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 dirty="0"/>
              <a:t>Fifth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878137" y="1028733"/>
            <a:ext cx="2880320" cy="384043"/>
          </a:xfrm>
          <a:prstGeom prst="parallelogram">
            <a:avLst/>
          </a:prstGeom>
          <a:solidFill>
            <a:srgbClr val="0556CD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67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Column 1 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339628" y="1028733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146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2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899972" y="1028733"/>
            <a:ext cx="2880320" cy="384043"/>
          </a:xfrm>
          <a:prstGeom prst="parallelogram">
            <a:avLst/>
          </a:prstGeom>
          <a:solidFill>
            <a:schemeClr val="accent2"/>
          </a:solidFill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67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Column 1 Title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8361463" y="1028733"/>
            <a:ext cx="538509" cy="384043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lIns="36000" tIns="72000" rIns="36000" bIns="36000" anchor="ctr">
            <a:noAutofit/>
          </a:bodyPr>
          <a:lstStyle>
            <a:lvl1pPr marL="0" indent="0" algn="ctr">
              <a:buNone/>
              <a:defRPr sz="1467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3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8"/>
          </p:nvPr>
        </p:nvSpPr>
        <p:spPr>
          <a:xfrm>
            <a:off x="4367808" y="1508787"/>
            <a:ext cx="3385344" cy="4968213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z="1467" smtClean="0"/>
            </a:lvl1pPr>
            <a:lvl2pPr>
              <a:defRPr lang="en-US" sz="1467" smtClean="0"/>
            </a:lvl2pPr>
            <a:lvl3pPr>
              <a:defRPr lang="en-US" sz="1467" smtClean="0"/>
            </a:lvl3pPr>
            <a:lvl4pPr>
              <a:defRPr lang="en-US" sz="1467" smtClean="0"/>
            </a:lvl4pPr>
            <a:lvl5pPr>
              <a:defRPr lang="en-US" sz="1467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9"/>
          </p:nvPr>
        </p:nvSpPr>
        <p:spPr>
          <a:xfrm>
            <a:off x="8375285" y="1508787"/>
            <a:ext cx="3385344" cy="4968213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z="1467" smtClean="0"/>
            </a:lvl1pPr>
            <a:lvl2pPr>
              <a:defRPr lang="en-US" sz="1467" smtClean="0"/>
            </a:lvl2pPr>
            <a:lvl3pPr>
              <a:defRPr lang="en-US" sz="1467" smtClean="0"/>
            </a:lvl3pPr>
            <a:lvl4pPr>
              <a:defRPr lang="en-US" sz="1467" smtClean="0"/>
            </a:lvl4pPr>
            <a:lvl5pPr>
              <a:defRPr lang="en-US" sz="1467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444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ular 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31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61" name="Straight Connector 60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Tabular Data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85767" y="1789889"/>
            <a:ext cx="2689021" cy="1305667"/>
          </a:xfrm>
          <a:prstGeom prst="homePlate">
            <a:avLst>
              <a:gd name="adj" fmla="val 25515"/>
            </a:avLst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85767" y="3432784"/>
            <a:ext cx="2689021" cy="1305667"/>
          </a:xfrm>
          <a:prstGeom prst="homePlate">
            <a:avLst>
              <a:gd name="adj" fmla="val 25515"/>
            </a:avLst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85767" y="5075679"/>
            <a:ext cx="2689021" cy="1305667"/>
          </a:xfrm>
          <a:prstGeom prst="homePlate">
            <a:avLst>
              <a:gd name="adj" fmla="val 25515"/>
            </a:avLst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1708" y="864682"/>
            <a:ext cx="11368587" cy="458236"/>
          </a:xfrm>
          <a:prstGeom prst="parallelogram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62175" y="1426680"/>
            <a:ext cx="3656787" cy="285389"/>
          </a:xfrm>
          <a:prstGeom prst="parallelogram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7981816" y="1426680"/>
            <a:ext cx="3656787" cy="285389"/>
          </a:xfrm>
          <a:prstGeom prst="parallelogram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endParaRPr lang="en-IN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814234" y="1841860"/>
            <a:ext cx="3543300" cy="1227667"/>
          </a:xfrm>
        </p:spPr>
        <p:txBody>
          <a:bodyPr>
            <a:noAutofit/>
          </a:bodyPr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8016582" y="1841860"/>
            <a:ext cx="3543300" cy="1227667"/>
          </a:xfrm>
        </p:spPr>
        <p:txBody>
          <a:bodyPr>
            <a:noAutofit/>
          </a:bodyPr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814234" y="3476105"/>
            <a:ext cx="3543300" cy="1227667"/>
          </a:xfrm>
        </p:spPr>
        <p:txBody>
          <a:bodyPr>
            <a:noAutofit/>
          </a:bodyPr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8016582" y="3476105"/>
            <a:ext cx="3543300" cy="1227667"/>
          </a:xfrm>
        </p:spPr>
        <p:txBody>
          <a:bodyPr>
            <a:noAutofit/>
          </a:bodyPr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3814234" y="5119000"/>
            <a:ext cx="3543300" cy="1227667"/>
          </a:xfrm>
        </p:spPr>
        <p:txBody>
          <a:bodyPr>
            <a:noAutofit/>
          </a:bodyPr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1"/>
          </p:nvPr>
        </p:nvSpPr>
        <p:spPr>
          <a:xfrm>
            <a:off x="8016582" y="5119000"/>
            <a:ext cx="3543300" cy="1227667"/>
          </a:xfrm>
        </p:spPr>
        <p:txBody>
          <a:bodyPr>
            <a:noAutofit/>
          </a:bodyPr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437513" y="2741039"/>
            <a:ext cx="2153055" cy="328488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bg1"/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437513" y="4409872"/>
            <a:ext cx="2153055" cy="328488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bg1"/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437513" y="6035472"/>
            <a:ext cx="2153055" cy="328488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bg1"/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3107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oi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21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61" name="Straight Connector 60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Five Points Slide 1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467069" y="1981199"/>
            <a:ext cx="2400000" cy="2400000"/>
          </a:xfrm>
          <a:prstGeom prst="pentag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782720" y="4480561"/>
            <a:ext cx="170648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2702272" y="2915926"/>
            <a:ext cx="2399995" cy="2399993"/>
          </a:xfrm>
          <a:custGeom>
            <a:avLst/>
            <a:gdLst/>
            <a:ahLst/>
            <a:cxnLst/>
            <a:rect l="l" t="t" r="r" b="b"/>
            <a:pathLst>
              <a:path w="1799996" h="1799995">
                <a:moveTo>
                  <a:pt x="343769" y="0"/>
                </a:moveTo>
                <a:lnTo>
                  <a:pt x="1456227" y="0"/>
                </a:lnTo>
                <a:lnTo>
                  <a:pt x="1799996" y="1112458"/>
                </a:lnTo>
                <a:lnTo>
                  <a:pt x="899998" y="1799995"/>
                </a:lnTo>
                <a:lnTo>
                  <a:pt x="0" y="11124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25"/>
          </p:nvPr>
        </p:nvSpPr>
        <p:spPr>
          <a:xfrm>
            <a:off x="4937469" y="1981199"/>
            <a:ext cx="2400000" cy="2400000"/>
          </a:xfrm>
          <a:prstGeom prst="pentag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33" name="Picture Placeholder 7"/>
          <p:cNvSpPr>
            <a:spLocks noGrp="1"/>
          </p:cNvSpPr>
          <p:nvPr>
            <p:ph type="pic" sz="quarter" idx="26"/>
          </p:nvPr>
        </p:nvSpPr>
        <p:spPr>
          <a:xfrm>
            <a:off x="7172672" y="2915926"/>
            <a:ext cx="2399995" cy="2399993"/>
          </a:xfrm>
          <a:custGeom>
            <a:avLst/>
            <a:gdLst/>
            <a:ahLst/>
            <a:cxnLst/>
            <a:rect l="l" t="t" r="r" b="b"/>
            <a:pathLst>
              <a:path w="1799996" h="1799995">
                <a:moveTo>
                  <a:pt x="343769" y="0"/>
                </a:moveTo>
                <a:lnTo>
                  <a:pt x="1456227" y="0"/>
                </a:lnTo>
                <a:lnTo>
                  <a:pt x="1799996" y="1112458"/>
                </a:lnTo>
                <a:lnTo>
                  <a:pt x="899998" y="1799995"/>
                </a:lnTo>
                <a:lnTo>
                  <a:pt x="0" y="11124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34" name="Picture Placeholder 7"/>
          <p:cNvSpPr>
            <a:spLocks noGrp="1"/>
          </p:cNvSpPr>
          <p:nvPr>
            <p:ph type="pic" sz="quarter" idx="27"/>
          </p:nvPr>
        </p:nvSpPr>
        <p:spPr>
          <a:xfrm>
            <a:off x="9407869" y="1981199"/>
            <a:ext cx="2400000" cy="2400000"/>
          </a:xfrm>
          <a:prstGeom prst="pentag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35" name="Text Placehold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38240" y="2407921"/>
            <a:ext cx="170648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36" name="Text Placehold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5281948" y="4480561"/>
            <a:ext cx="170648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37" name="Text Placeholder 11"/>
          <p:cNvSpPr>
            <a:spLocks noGrp="1"/>
          </p:cNvSpPr>
          <p:nvPr>
            <p:ph type="body" sz="quarter" idx="30" hasCustomPrompt="1"/>
          </p:nvPr>
        </p:nvSpPr>
        <p:spPr>
          <a:xfrm>
            <a:off x="7537468" y="2407921"/>
            <a:ext cx="170648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9762508" y="4480561"/>
            <a:ext cx="170648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74610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oints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24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61" name="Straight Connector 60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Five Points Slide 2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980507" y="3302200"/>
            <a:ext cx="1718493" cy="1718493"/>
          </a:xfrm>
          <a:prstGeom prst="pentag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107804" y="518160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4032068" y="2032207"/>
            <a:ext cx="1718491" cy="1718488"/>
          </a:xfrm>
          <a:custGeom>
            <a:avLst/>
            <a:gdLst/>
            <a:ahLst/>
            <a:cxnLst/>
            <a:rect l="l" t="t" r="r" b="b"/>
            <a:pathLst>
              <a:path w="1799996" h="1799995">
                <a:moveTo>
                  <a:pt x="343769" y="0"/>
                </a:moveTo>
                <a:lnTo>
                  <a:pt x="1456227" y="0"/>
                </a:lnTo>
                <a:lnTo>
                  <a:pt x="1799996" y="1112458"/>
                </a:lnTo>
                <a:lnTo>
                  <a:pt x="899998" y="1799995"/>
                </a:lnTo>
                <a:lnTo>
                  <a:pt x="0" y="11124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5083627" y="3302200"/>
            <a:ext cx="1718493" cy="1718493"/>
          </a:xfrm>
          <a:prstGeom prst="pentag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135188" y="2032207"/>
            <a:ext cx="1718491" cy="1718488"/>
          </a:xfrm>
          <a:custGeom>
            <a:avLst/>
            <a:gdLst/>
            <a:ahLst/>
            <a:cxnLst/>
            <a:rect l="l" t="t" r="r" b="b"/>
            <a:pathLst>
              <a:path w="1799996" h="1799995">
                <a:moveTo>
                  <a:pt x="343769" y="0"/>
                </a:moveTo>
                <a:lnTo>
                  <a:pt x="1456227" y="0"/>
                </a:lnTo>
                <a:lnTo>
                  <a:pt x="1799996" y="1112458"/>
                </a:lnTo>
                <a:lnTo>
                  <a:pt x="899998" y="1799995"/>
                </a:lnTo>
                <a:lnTo>
                  <a:pt x="0" y="11124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7186747" y="3302200"/>
            <a:ext cx="1718493" cy="1718493"/>
          </a:xfrm>
          <a:prstGeom prst="pentag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6" hasCustomPrompt="1"/>
          </p:nvPr>
        </p:nvSpPr>
        <p:spPr>
          <a:xfrm>
            <a:off x="5210924" y="518160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7314044" y="518160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41" name="Text Placeholder 11"/>
          <p:cNvSpPr>
            <a:spLocks noGrp="1"/>
          </p:cNvSpPr>
          <p:nvPr>
            <p:ph type="body" sz="quarter" idx="40" hasCustomPrompt="1"/>
          </p:nvPr>
        </p:nvSpPr>
        <p:spPr>
          <a:xfrm>
            <a:off x="4164444" y="146304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42" name="Text Placeholder 11"/>
          <p:cNvSpPr>
            <a:spLocks noGrp="1"/>
          </p:cNvSpPr>
          <p:nvPr>
            <p:ph type="body" sz="quarter" idx="41" hasCustomPrompt="1"/>
          </p:nvPr>
        </p:nvSpPr>
        <p:spPr>
          <a:xfrm>
            <a:off x="6267564" y="146304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11067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20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59" name="Straight Connector 58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20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Steps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40587" y="2418279"/>
            <a:ext cx="4471187" cy="2062287"/>
          </a:xfrm>
          <a:prstGeom prst="homePlate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3887290" y="2418280"/>
            <a:ext cx="4471181" cy="2062280"/>
          </a:xfrm>
          <a:prstGeom prst="chevron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7433987" y="2418279"/>
            <a:ext cx="4471187" cy="2062287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6" hasCustomPrompt="1"/>
          </p:nvPr>
        </p:nvSpPr>
        <p:spPr>
          <a:xfrm>
            <a:off x="5254371" y="476504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41" name="Text Placeholder 11"/>
          <p:cNvSpPr>
            <a:spLocks noGrp="1"/>
          </p:cNvSpPr>
          <p:nvPr>
            <p:ph type="body" sz="quarter" idx="40" hasCustomPrompt="1"/>
          </p:nvPr>
        </p:nvSpPr>
        <p:spPr>
          <a:xfrm>
            <a:off x="1390764" y="177292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42" name="Text Placeholder 11"/>
          <p:cNvSpPr>
            <a:spLocks noGrp="1"/>
          </p:cNvSpPr>
          <p:nvPr>
            <p:ph type="body" sz="quarter" idx="41" hasCustomPrompt="1"/>
          </p:nvPr>
        </p:nvSpPr>
        <p:spPr>
          <a:xfrm>
            <a:off x="8685644" y="1772921"/>
            <a:ext cx="1462640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33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42" hasCustomPrompt="1"/>
          </p:nvPr>
        </p:nvSpPr>
        <p:spPr>
          <a:xfrm>
            <a:off x="1003128" y="3886201"/>
            <a:ext cx="2237912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67" b="1">
                <a:solidFill>
                  <a:schemeClr val="bg1"/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3" hasCustomPrompt="1"/>
          </p:nvPr>
        </p:nvSpPr>
        <p:spPr>
          <a:xfrm>
            <a:off x="4937855" y="3886201"/>
            <a:ext cx="2237912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67" b="1">
                <a:solidFill>
                  <a:schemeClr val="bg1"/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44" hasCustomPrompt="1"/>
          </p:nvPr>
        </p:nvSpPr>
        <p:spPr>
          <a:xfrm>
            <a:off x="8473535" y="3886201"/>
            <a:ext cx="2237912" cy="406400"/>
          </a:xfrm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67" b="1">
                <a:solidFill>
                  <a:schemeClr val="bg1"/>
                </a:solidFill>
              </a:defRPr>
            </a:lvl1pPr>
            <a:lvl2pPr marL="457177" indent="0">
              <a:buFont typeface="Arial" panose="020B0604020202020204" pitchFamily="34" charset="0"/>
              <a:buNone/>
              <a:defRPr sz="1333"/>
            </a:lvl2pPr>
            <a:lvl3pPr marL="914353" indent="0">
              <a:buFont typeface="Arial" panose="020B0604020202020204" pitchFamily="34" charset="0"/>
              <a:buNone/>
              <a:defRPr sz="1333"/>
            </a:lvl3pPr>
            <a:lvl4pPr marL="1371531" indent="0">
              <a:buFont typeface="Arial" panose="020B0604020202020204" pitchFamily="34" charset="0"/>
              <a:buNone/>
              <a:defRPr sz="1333"/>
            </a:lvl4pPr>
            <a:lvl5pPr marL="1828709" indent="0">
              <a:buFont typeface="Arial" panose="020B0604020202020204" pitchFamily="34" charset="0"/>
              <a:buNone/>
              <a:defRPr sz="1333"/>
            </a:lvl5pPr>
          </a:lstStyle>
          <a:p>
            <a:pPr lvl="0"/>
            <a:r>
              <a:rPr lang="en-US" dirty="0"/>
              <a:t>Add Text He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076181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1"/>
            <a:ext cx="12192000" cy="6554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256" name="Group 255"/>
          <p:cNvGrpSpPr/>
          <p:nvPr userDrawn="1"/>
        </p:nvGrpSpPr>
        <p:grpSpPr>
          <a:xfrm>
            <a:off x="-1" y="0"/>
            <a:ext cx="12183353" cy="6553200"/>
            <a:chOff x="-1" y="0"/>
            <a:chExt cx="9137515" cy="4914900"/>
          </a:xfrm>
        </p:grpSpPr>
        <p:grpSp>
          <p:nvGrpSpPr>
            <p:cNvPr id="29" name="Group 87"/>
            <p:cNvGrpSpPr/>
            <p:nvPr userDrawn="1"/>
          </p:nvGrpSpPr>
          <p:grpSpPr>
            <a:xfrm>
              <a:off x="142570" y="6214"/>
              <a:ext cx="8858313" cy="4908686"/>
              <a:chOff x="142672" y="603115"/>
              <a:chExt cx="8864600" cy="4338536"/>
            </a:xfrm>
          </p:grpSpPr>
          <p:cxnSp>
            <p:nvCxnSpPr>
              <p:cNvPr id="59" name="Straight Connector 58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oup 254"/>
            <p:cNvGrpSpPr/>
            <p:nvPr userDrawn="1"/>
          </p:nvGrpSpPr>
          <p:grpSpPr>
            <a:xfrm>
              <a:off x="-1" y="0"/>
              <a:ext cx="9137515" cy="4896684"/>
              <a:chOff x="-4568761" y="0"/>
              <a:chExt cx="13706276" cy="4896684"/>
            </a:xfrm>
          </p:grpSpPr>
          <p:cxnSp>
            <p:nvCxnSpPr>
              <p:cNvPr id="30" name="Straight Connector 29"/>
              <p:cNvCxnSpPr/>
              <p:nvPr userDrawn="1"/>
            </p:nvCxnSpPr>
            <p:spPr>
              <a:xfrm flipH="1">
                <a:off x="-4568761" y="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>
              <a:xfrm flipH="1">
                <a:off x="-4568761" y="15283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flipH="1">
                <a:off x="-4568761" y="30567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 flipH="1">
                <a:off x="-4568761" y="45851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>
              <a:xfrm flipH="1">
                <a:off x="-4568761" y="61135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>
              <a:xfrm flipH="1">
                <a:off x="-4568761" y="76419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 flipH="1">
                <a:off x="-4568761" y="91702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>
              <a:xfrm flipH="1">
                <a:off x="-4568761" y="106986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 flipH="1">
                <a:off x="-4568761" y="122270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 flipH="1">
                <a:off x="-4568761" y="137554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 flipH="1">
                <a:off x="-4568761" y="152838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 userDrawn="1"/>
            </p:nvCxnSpPr>
            <p:spPr>
              <a:xfrm flipH="1">
                <a:off x="-4568761" y="168121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 flipH="1">
                <a:off x="-4568761" y="183405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 userDrawn="1"/>
            </p:nvCxnSpPr>
            <p:spPr>
              <a:xfrm flipH="1">
                <a:off x="-4568761" y="198689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 flipH="1">
                <a:off x="-4568761" y="213973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 flipH="1">
                <a:off x="-4568761" y="229257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 flipH="1">
                <a:off x="-4568761" y="244540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 flipH="1">
                <a:off x="-4568761" y="259824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 flipH="1">
                <a:off x="-4568761" y="275108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 flipH="1">
                <a:off x="-4568761" y="290392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 flipH="1">
                <a:off x="-4568761" y="305676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 flipH="1">
                <a:off x="-4568761" y="320959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 flipH="1">
                <a:off x="-4568761" y="336243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 flipH="1">
                <a:off x="-4568761" y="351527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 flipH="1">
                <a:off x="-4568761" y="366811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 flipH="1">
                <a:off x="-4568761" y="382095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 flipH="1">
                <a:off x="-4568761" y="397378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 flipH="1">
                <a:off x="-4568761" y="412662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 flipH="1">
                <a:off x="-4568761" y="427946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 flipH="1">
                <a:off x="-4568761" y="443817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 flipH="1">
                <a:off x="-4568761" y="459100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 flipH="1">
                <a:off x="-4568761" y="474384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 flipH="1">
                <a:off x="-4568761" y="489668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oup 7"/>
          <p:cNvGrpSpPr/>
          <p:nvPr userDrawn="1"/>
        </p:nvGrpSpPr>
        <p:grpSpPr>
          <a:xfrm>
            <a:off x="266968" y="1007106"/>
            <a:ext cx="1065707" cy="1126383"/>
            <a:chOff x="-3330575" y="3005138"/>
            <a:chExt cx="1533526" cy="1620837"/>
          </a:xfrm>
          <a:solidFill>
            <a:schemeClr val="accent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-3330575" y="3005138"/>
              <a:ext cx="1233488" cy="1620837"/>
            </a:xfrm>
            <a:custGeom>
              <a:avLst/>
              <a:gdLst>
                <a:gd name="T0" fmla="*/ 621 w 777"/>
                <a:gd name="T1" fmla="*/ 0 h 1021"/>
                <a:gd name="T2" fmla="*/ 0 w 777"/>
                <a:gd name="T3" fmla="*/ 1021 h 1021"/>
                <a:gd name="T4" fmla="*/ 621 w 777"/>
                <a:gd name="T5" fmla="*/ 1021 h 1021"/>
                <a:gd name="T6" fmla="*/ 777 w 777"/>
                <a:gd name="T7" fmla="*/ 785 h 1021"/>
                <a:gd name="T8" fmla="*/ 231 w 777"/>
                <a:gd name="T9" fmla="*/ 785 h 1021"/>
                <a:gd name="T10" fmla="*/ 699 w 777"/>
                <a:gd name="T11" fmla="*/ 0 h 1021"/>
                <a:gd name="T12" fmla="*/ 621 w 777"/>
                <a:gd name="T13" fmla="*/ 0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7" h="1021">
                  <a:moveTo>
                    <a:pt x="621" y="0"/>
                  </a:moveTo>
                  <a:lnTo>
                    <a:pt x="0" y="1021"/>
                  </a:lnTo>
                  <a:lnTo>
                    <a:pt x="621" y="1021"/>
                  </a:lnTo>
                  <a:lnTo>
                    <a:pt x="777" y="785"/>
                  </a:lnTo>
                  <a:lnTo>
                    <a:pt x="231" y="785"/>
                  </a:lnTo>
                  <a:lnTo>
                    <a:pt x="699" y="0"/>
                  </a:lnTo>
                  <a:lnTo>
                    <a:pt x="6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-2611437" y="3005138"/>
              <a:ext cx="814388" cy="1136650"/>
            </a:xfrm>
            <a:custGeom>
              <a:avLst/>
              <a:gdLst>
                <a:gd name="T0" fmla="*/ 435 w 513"/>
                <a:gd name="T1" fmla="*/ 0 h 716"/>
                <a:gd name="T2" fmla="*/ 513 w 513"/>
                <a:gd name="T3" fmla="*/ 0 h 716"/>
                <a:gd name="T4" fmla="*/ 78 w 513"/>
                <a:gd name="T5" fmla="*/ 716 h 716"/>
                <a:gd name="T6" fmla="*/ 0 w 513"/>
                <a:gd name="T7" fmla="*/ 716 h 716"/>
                <a:gd name="T8" fmla="*/ 435 w 513"/>
                <a:gd name="T9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716">
                  <a:moveTo>
                    <a:pt x="435" y="0"/>
                  </a:moveTo>
                  <a:lnTo>
                    <a:pt x="513" y="0"/>
                  </a:lnTo>
                  <a:lnTo>
                    <a:pt x="78" y="716"/>
                  </a:lnTo>
                  <a:lnTo>
                    <a:pt x="0" y="716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6641654" y="2481425"/>
            <a:ext cx="996725" cy="1078995"/>
            <a:chOff x="2301081" y="6662108"/>
            <a:chExt cx="1500188" cy="1624012"/>
          </a:xfrm>
          <a:solidFill>
            <a:schemeClr val="accent1"/>
          </a:solidFill>
        </p:grpSpPr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2551906" y="6662108"/>
              <a:ext cx="1249363" cy="393700"/>
            </a:xfrm>
            <a:custGeom>
              <a:avLst/>
              <a:gdLst>
                <a:gd name="T0" fmla="*/ 402 w 787"/>
                <a:gd name="T1" fmla="*/ 248 h 248"/>
                <a:gd name="T2" fmla="*/ 633 w 787"/>
                <a:gd name="T3" fmla="*/ 248 h 248"/>
                <a:gd name="T4" fmla="*/ 787 w 787"/>
                <a:gd name="T5" fmla="*/ 0 h 248"/>
                <a:gd name="T6" fmla="*/ 151 w 787"/>
                <a:gd name="T7" fmla="*/ 0 h 248"/>
                <a:gd name="T8" fmla="*/ 0 w 787"/>
                <a:gd name="T9" fmla="*/ 246 h 248"/>
                <a:gd name="T10" fmla="*/ 402 w 787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7" h="248">
                  <a:moveTo>
                    <a:pt x="402" y="248"/>
                  </a:moveTo>
                  <a:lnTo>
                    <a:pt x="633" y="248"/>
                  </a:lnTo>
                  <a:lnTo>
                    <a:pt x="787" y="0"/>
                  </a:lnTo>
                  <a:lnTo>
                    <a:pt x="151" y="0"/>
                  </a:lnTo>
                  <a:lnTo>
                    <a:pt x="0" y="246"/>
                  </a:lnTo>
                  <a:lnTo>
                    <a:pt x="402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2683669" y="7162170"/>
              <a:ext cx="809625" cy="1123950"/>
            </a:xfrm>
            <a:custGeom>
              <a:avLst/>
              <a:gdLst>
                <a:gd name="T0" fmla="*/ 435 w 510"/>
                <a:gd name="T1" fmla="*/ 0 h 708"/>
                <a:gd name="T2" fmla="*/ 510 w 510"/>
                <a:gd name="T3" fmla="*/ 0 h 708"/>
                <a:gd name="T4" fmla="*/ 78 w 510"/>
                <a:gd name="T5" fmla="*/ 708 h 708"/>
                <a:gd name="T6" fmla="*/ 0 w 510"/>
                <a:gd name="T7" fmla="*/ 708 h 708"/>
                <a:gd name="T8" fmla="*/ 435 w 510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708">
                  <a:moveTo>
                    <a:pt x="435" y="0"/>
                  </a:moveTo>
                  <a:lnTo>
                    <a:pt x="510" y="0"/>
                  </a:lnTo>
                  <a:lnTo>
                    <a:pt x="78" y="708"/>
                  </a:lnTo>
                  <a:lnTo>
                    <a:pt x="0" y="708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2301081" y="7162170"/>
              <a:ext cx="803275" cy="1123950"/>
            </a:xfrm>
            <a:custGeom>
              <a:avLst/>
              <a:gdLst>
                <a:gd name="T0" fmla="*/ 430 w 506"/>
                <a:gd name="T1" fmla="*/ 0 h 708"/>
                <a:gd name="T2" fmla="*/ 506 w 506"/>
                <a:gd name="T3" fmla="*/ 0 h 708"/>
                <a:gd name="T4" fmla="*/ 76 w 506"/>
                <a:gd name="T5" fmla="*/ 708 h 708"/>
                <a:gd name="T6" fmla="*/ 0 w 506"/>
                <a:gd name="T7" fmla="*/ 708 h 708"/>
                <a:gd name="T8" fmla="*/ 430 w 506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6" h="708">
                  <a:moveTo>
                    <a:pt x="430" y="0"/>
                  </a:moveTo>
                  <a:lnTo>
                    <a:pt x="506" y="0"/>
                  </a:lnTo>
                  <a:lnTo>
                    <a:pt x="76" y="708"/>
                  </a:lnTo>
                  <a:lnTo>
                    <a:pt x="0" y="708"/>
                  </a:lnTo>
                  <a:lnTo>
                    <a:pt x="4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32675" y="1007106"/>
            <a:ext cx="5403405" cy="2081535"/>
          </a:xfrm>
          <a:prstGeom prst="rect">
            <a:avLst/>
          </a:prstGeom>
        </p:spPr>
        <p:txBody>
          <a:bodyPr/>
          <a:lstStyle>
            <a:lvl1pPr algn="ctr">
              <a:defRPr sz="4267"/>
            </a:lvl1pPr>
          </a:lstStyle>
          <a:p>
            <a:r>
              <a:rPr lang="en-US" dirty="0"/>
              <a:t>Title Text</a:t>
            </a:r>
            <a:endParaRPr lang="en-IN" dirty="0"/>
          </a:p>
        </p:txBody>
      </p:sp>
      <p:sp>
        <p:nvSpPr>
          <p:cNvPr id="17" name="Freeform 17"/>
          <p:cNvSpPr>
            <a:spLocks/>
          </p:cNvSpPr>
          <p:nvPr userDrawn="1"/>
        </p:nvSpPr>
        <p:spPr bwMode="auto">
          <a:xfrm>
            <a:off x="1" y="3530451"/>
            <a:ext cx="3210233" cy="767632"/>
          </a:xfrm>
          <a:custGeom>
            <a:avLst/>
            <a:gdLst/>
            <a:ahLst/>
            <a:cxnLst/>
            <a:rect l="l" t="t" r="r" b="b"/>
            <a:pathLst>
              <a:path w="2402984" h="575724">
                <a:moveTo>
                  <a:pt x="0" y="0"/>
                </a:moveTo>
                <a:lnTo>
                  <a:pt x="2402984" y="0"/>
                </a:lnTo>
                <a:lnTo>
                  <a:pt x="2052676" y="575724"/>
                </a:lnTo>
                <a:lnTo>
                  <a:pt x="0" y="57572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IN" sz="1800">
              <a:solidFill>
                <a:srgbClr val="000000"/>
              </a:solidFill>
            </a:endParaRPr>
          </a:p>
        </p:txBody>
      </p:sp>
      <p:grpSp>
        <p:nvGrpSpPr>
          <p:cNvPr id="18" name="Group 5"/>
          <p:cNvGrpSpPr>
            <a:grpSpLocks noChangeAspect="1"/>
          </p:cNvGrpSpPr>
          <p:nvPr userDrawn="1"/>
        </p:nvGrpSpPr>
        <p:grpSpPr bwMode="auto">
          <a:xfrm>
            <a:off x="399132" y="3731182"/>
            <a:ext cx="2240485" cy="336381"/>
            <a:chOff x="119" y="2341"/>
            <a:chExt cx="1805" cy="271"/>
          </a:xfrm>
        </p:grpSpPr>
        <p:sp>
          <p:nvSpPr>
            <p:cNvPr id="19" name="Freeform 6"/>
            <p:cNvSpPr>
              <a:spLocks noEditPoints="1"/>
            </p:cNvSpPr>
            <p:nvPr userDrawn="1"/>
          </p:nvSpPr>
          <p:spPr bwMode="auto">
            <a:xfrm>
              <a:off x="119" y="2341"/>
              <a:ext cx="270" cy="271"/>
            </a:xfrm>
            <a:custGeom>
              <a:avLst/>
              <a:gdLst>
                <a:gd name="T0" fmla="*/ 57 w 114"/>
                <a:gd name="T1" fmla="*/ 0 h 115"/>
                <a:gd name="T2" fmla="*/ 114 w 114"/>
                <a:gd name="T3" fmla="*/ 58 h 115"/>
                <a:gd name="T4" fmla="*/ 57 w 114"/>
                <a:gd name="T5" fmla="*/ 115 h 115"/>
                <a:gd name="T6" fmla="*/ 0 w 114"/>
                <a:gd name="T7" fmla="*/ 58 h 115"/>
                <a:gd name="T8" fmla="*/ 57 w 114"/>
                <a:gd name="T9" fmla="*/ 0 h 115"/>
                <a:gd name="T10" fmla="*/ 49 w 114"/>
                <a:gd name="T11" fmla="*/ 107 h 115"/>
                <a:gd name="T12" fmla="*/ 73 w 114"/>
                <a:gd name="T13" fmla="*/ 65 h 115"/>
                <a:gd name="T14" fmla="*/ 57 w 114"/>
                <a:gd name="T15" fmla="*/ 65 h 115"/>
                <a:gd name="T16" fmla="*/ 65 w 114"/>
                <a:gd name="T17" fmla="*/ 51 h 115"/>
                <a:gd name="T18" fmla="*/ 104 w 114"/>
                <a:gd name="T19" fmla="*/ 51 h 115"/>
                <a:gd name="T20" fmla="*/ 96 w 114"/>
                <a:gd name="T21" fmla="*/ 65 h 115"/>
                <a:gd name="T22" fmla="*/ 82 w 114"/>
                <a:gd name="T23" fmla="*/ 65 h 115"/>
                <a:gd name="T24" fmla="*/ 57 w 114"/>
                <a:gd name="T25" fmla="*/ 108 h 115"/>
                <a:gd name="T26" fmla="*/ 107 w 114"/>
                <a:gd name="T27" fmla="*/ 58 h 115"/>
                <a:gd name="T28" fmla="*/ 57 w 114"/>
                <a:gd name="T29" fmla="*/ 8 h 115"/>
                <a:gd name="T30" fmla="*/ 51 w 114"/>
                <a:gd name="T31" fmla="*/ 8 h 115"/>
                <a:gd name="T32" fmla="*/ 26 w 114"/>
                <a:gd name="T33" fmla="*/ 51 h 115"/>
                <a:gd name="T34" fmla="*/ 57 w 114"/>
                <a:gd name="T35" fmla="*/ 51 h 115"/>
                <a:gd name="T36" fmla="*/ 49 w 114"/>
                <a:gd name="T37" fmla="*/ 65 h 115"/>
                <a:gd name="T38" fmla="*/ 10 w 114"/>
                <a:gd name="T39" fmla="*/ 65 h 115"/>
                <a:gd name="T40" fmla="*/ 41 w 114"/>
                <a:gd name="T41" fmla="*/ 10 h 115"/>
                <a:gd name="T42" fmla="*/ 7 w 114"/>
                <a:gd name="T43" fmla="*/ 58 h 115"/>
                <a:gd name="T44" fmla="*/ 49 w 114"/>
                <a:gd name="T45" fmla="*/ 10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4" h="115">
                  <a:moveTo>
                    <a:pt x="57" y="0"/>
                  </a:moveTo>
                  <a:cubicBezTo>
                    <a:pt x="88" y="0"/>
                    <a:pt x="114" y="26"/>
                    <a:pt x="114" y="58"/>
                  </a:cubicBezTo>
                  <a:cubicBezTo>
                    <a:pt x="114" y="89"/>
                    <a:pt x="88" y="115"/>
                    <a:pt x="57" y="115"/>
                  </a:cubicBezTo>
                  <a:cubicBezTo>
                    <a:pt x="25" y="115"/>
                    <a:pt x="0" y="89"/>
                    <a:pt x="0" y="58"/>
                  </a:cubicBezTo>
                  <a:cubicBezTo>
                    <a:pt x="0" y="26"/>
                    <a:pt x="25" y="0"/>
                    <a:pt x="57" y="0"/>
                  </a:cubicBezTo>
                  <a:moveTo>
                    <a:pt x="49" y="107"/>
                  </a:moveTo>
                  <a:cubicBezTo>
                    <a:pt x="73" y="65"/>
                    <a:pt x="73" y="65"/>
                    <a:pt x="73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57" y="108"/>
                    <a:pt x="57" y="108"/>
                    <a:pt x="57" y="108"/>
                  </a:cubicBezTo>
                  <a:cubicBezTo>
                    <a:pt x="84" y="108"/>
                    <a:pt x="107" y="85"/>
                    <a:pt x="107" y="58"/>
                  </a:cubicBezTo>
                  <a:cubicBezTo>
                    <a:pt x="107" y="30"/>
                    <a:pt x="84" y="8"/>
                    <a:pt x="57" y="8"/>
                  </a:cubicBezTo>
                  <a:cubicBezTo>
                    <a:pt x="55" y="8"/>
                    <a:pt x="53" y="8"/>
                    <a:pt x="51" y="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1" y="17"/>
                    <a:pt x="7" y="36"/>
                    <a:pt x="7" y="58"/>
                  </a:cubicBezTo>
                  <a:cubicBezTo>
                    <a:pt x="7" y="83"/>
                    <a:pt x="25" y="103"/>
                    <a:pt x="49" y="10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457" y="2426"/>
              <a:ext cx="1467" cy="125"/>
            </a:xfrm>
            <a:custGeom>
              <a:avLst/>
              <a:gdLst>
                <a:gd name="T0" fmla="*/ 55 w 621"/>
                <a:gd name="T1" fmla="*/ 34 h 53"/>
                <a:gd name="T2" fmla="*/ 53 w 621"/>
                <a:gd name="T3" fmla="*/ 18 h 53"/>
                <a:gd name="T4" fmla="*/ 35 w 621"/>
                <a:gd name="T5" fmla="*/ 7 h 53"/>
                <a:gd name="T6" fmla="*/ 29 w 621"/>
                <a:gd name="T7" fmla="*/ 38 h 53"/>
                <a:gd name="T8" fmla="*/ 45 w 621"/>
                <a:gd name="T9" fmla="*/ 35 h 53"/>
                <a:gd name="T10" fmla="*/ 40 w 621"/>
                <a:gd name="T11" fmla="*/ 24 h 53"/>
                <a:gd name="T12" fmla="*/ 42 w 621"/>
                <a:gd name="T13" fmla="*/ 9 h 53"/>
                <a:gd name="T14" fmla="*/ 81 w 621"/>
                <a:gd name="T15" fmla="*/ 9 h 53"/>
                <a:gd name="T16" fmla="*/ 139 w 621"/>
                <a:gd name="T17" fmla="*/ 9 h 53"/>
                <a:gd name="T18" fmla="*/ 144 w 621"/>
                <a:gd name="T19" fmla="*/ 13 h 53"/>
                <a:gd name="T20" fmla="*/ 155 w 621"/>
                <a:gd name="T21" fmla="*/ 40 h 53"/>
                <a:gd name="T22" fmla="*/ 145 w 621"/>
                <a:gd name="T23" fmla="*/ 18 h 53"/>
                <a:gd name="T24" fmla="*/ 174 w 621"/>
                <a:gd name="T25" fmla="*/ 13 h 53"/>
                <a:gd name="T26" fmla="*/ 182 w 621"/>
                <a:gd name="T27" fmla="*/ 35 h 53"/>
                <a:gd name="T28" fmla="*/ 181 w 621"/>
                <a:gd name="T29" fmla="*/ 18 h 53"/>
                <a:gd name="T30" fmla="*/ 205 w 621"/>
                <a:gd name="T31" fmla="*/ 18 h 53"/>
                <a:gd name="T32" fmla="*/ 217 w 621"/>
                <a:gd name="T33" fmla="*/ 21 h 53"/>
                <a:gd name="T34" fmla="*/ 187 w 621"/>
                <a:gd name="T35" fmla="*/ 41 h 53"/>
                <a:gd name="T36" fmla="*/ 243 w 621"/>
                <a:gd name="T37" fmla="*/ 22 h 53"/>
                <a:gd name="T38" fmla="*/ 241 w 621"/>
                <a:gd name="T39" fmla="*/ 12 h 53"/>
                <a:gd name="T40" fmla="*/ 269 w 621"/>
                <a:gd name="T41" fmla="*/ 36 h 53"/>
                <a:gd name="T42" fmla="*/ 276 w 621"/>
                <a:gd name="T43" fmla="*/ 20 h 53"/>
                <a:gd name="T44" fmla="*/ 260 w 621"/>
                <a:gd name="T45" fmla="*/ 17 h 53"/>
                <a:gd name="T46" fmla="*/ 284 w 621"/>
                <a:gd name="T47" fmla="*/ 19 h 53"/>
                <a:gd name="T48" fmla="*/ 314 w 621"/>
                <a:gd name="T49" fmla="*/ 35 h 53"/>
                <a:gd name="T50" fmla="*/ 326 w 621"/>
                <a:gd name="T51" fmla="*/ 22 h 53"/>
                <a:gd name="T52" fmla="*/ 305 w 621"/>
                <a:gd name="T53" fmla="*/ 22 h 53"/>
                <a:gd name="T54" fmla="*/ 330 w 621"/>
                <a:gd name="T55" fmla="*/ 15 h 53"/>
                <a:gd name="T56" fmla="*/ 367 w 621"/>
                <a:gd name="T57" fmla="*/ 17 h 53"/>
                <a:gd name="T58" fmla="*/ 340 w 621"/>
                <a:gd name="T59" fmla="*/ 19 h 53"/>
                <a:gd name="T60" fmla="*/ 357 w 621"/>
                <a:gd name="T61" fmla="*/ 36 h 53"/>
                <a:gd name="T62" fmla="*/ 358 w 621"/>
                <a:gd name="T63" fmla="*/ 24 h 53"/>
                <a:gd name="T64" fmla="*/ 346 w 621"/>
                <a:gd name="T65" fmla="*/ 23 h 53"/>
                <a:gd name="T66" fmla="*/ 373 w 621"/>
                <a:gd name="T67" fmla="*/ 47 h 53"/>
                <a:gd name="T68" fmla="*/ 383 w 621"/>
                <a:gd name="T69" fmla="*/ 45 h 53"/>
                <a:gd name="T70" fmla="*/ 430 w 621"/>
                <a:gd name="T71" fmla="*/ 2 h 53"/>
                <a:gd name="T72" fmla="*/ 433 w 621"/>
                <a:gd name="T73" fmla="*/ 27 h 53"/>
                <a:gd name="T74" fmla="*/ 420 w 621"/>
                <a:gd name="T75" fmla="*/ 41 h 53"/>
                <a:gd name="T76" fmla="*/ 433 w 621"/>
                <a:gd name="T77" fmla="*/ 18 h 53"/>
                <a:gd name="T78" fmla="*/ 443 w 621"/>
                <a:gd name="T79" fmla="*/ 10 h 53"/>
                <a:gd name="T80" fmla="*/ 449 w 621"/>
                <a:gd name="T81" fmla="*/ 19 h 53"/>
                <a:gd name="T82" fmla="*/ 466 w 621"/>
                <a:gd name="T83" fmla="*/ 36 h 53"/>
                <a:gd name="T84" fmla="*/ 466 w 621"/>
                <a:gd name="T85" fmla="*/ 19 h 53"/>
                <a:gd name="T86" fmla="*/ 492 w 621"/>
                <a:gd name="T87" fmla="*/ 20 h 53"/>
                <a:gd name="T88" fmla="*/ 488 w 621"/>
                <a:gd name="T89" fmla="*/ 18 h 53"/>
                <a:gd name="T90" fmla="*/ 511 w 621"/>
                <a:gd name="T91" fmla="*/ 33 h 53"/>
                <a:gd name="T92" fmla="*/ 535 w 621"/>
                <a:gd name="T93" fmla="*/ 8 h 53"/>
                <a:gd name="T94" fmla="*/ 546 w 621"/>
                <a:gd name="T95" fmla="*/ 23 h 53"/>
                <a:gd name="T96" fmla="*/ 558 w 621"/>
                <a:gd name="T97" fmla="*/ 36 h 53"/>
                <a:gd name="T98" fmla="*/ 567 w 621"/>
                <a:gd name="T99" fmla="*/ 19 h 53"/>
                <a:gd name="T100" fmla="*/ 571 w 621"/>
                <a:gd name="T101" fmla="*/ 19 h 53"/>
                <a:gd name="T102" fmla="*/ 588 w 621"/>
                <a:gd name="T103" fmla="*/ 36 h 53"/>
                <a:gd name="T104" fmla="*/ 588 w 621"/>
                <a:gd name="T105" fmla="*/ 19 h 53"/>
                <a:gd name="T106" fmla="*/ 604 w 621"/>
                <a:gd name="T107" fmla="*/ 15 h 53"/>
                <a:gd name="T108" fmla="*/ 609 w 621"/>
                <a:gd name="T109" fmla="*/ 36 h 53"/>
                <a:gd name="T110" fmla="*/ 613 w 621"/>
                <a:gd name="T111" fmla="*/ 40 h 53"/>
                <a:gd name="T112" fmla="*/ 609 w 621"/>
                <a:gd name="T113" fmla="*/ 1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1" h="53">
                  <a:moveTo>
                    <a:pt x="0" y="41"/>
                  </a:moveTo>
                  <a:cubicBezTo>
                    <a:pt x="22" y="41"/>
                    <a:pt x="22" y="41"/>
                    <a:pt x="22" y="41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0" y="41"/>
                  </a:lnTo>
                  <a:close/>
                  <a:moveTo>
                    <a:pt x="51" y="41"/>
                  </a:moveTo>
                  <a:cubicBezTo>
                    <a:pt x="59" y="41"/>
                    <a:pt x="59" y="41"/>
                    <a:pt x="59" y="4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6" y="33"/>
                    <a:pt x="57" y="32"/>
                    <a:pt x="58" y="30"/>
                  </a:cubicBezTo>
                  <a:cubicBezTo>
                    <a:pt x="59" y="29"/>
                    <a:pt x="60" y="27"/>
                    <a:pt x="60" y="25"/>
                  </a:cubicBezTo>
                  <a:cubicBezTo>
                    <a:pt x="61" y="24"/>
                    <a:pt x="61" y="22"/>
                    <a:pt x="61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1"/>
                    <a:pt x="55" y="22"/>
                    <a:pt x="54" y="23"/>
                  </a:cubicBezTo>
                  <a:cubicBezTo>
                    <a:pt x="54" y="24"/>
                    <a:pt x="54" y="25"/>
                    <a:pt x="53" y="26"/>
                  </a:cubicBezTo>
                  <a:cubicBezTo>
                    <a:pt x="53" y="27"/>
                    <a:pt x="52" y="28"/>
                    <a:pt x="51" y="29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7" y="21"/>
                    <a:pt x="48" y="20"/>
                    <a:pt x="50" y="20"/>
                  </a:cubicBezTo>
                  <a:cubicBezTo>
                    <a:pt x="51" y="19"/>
                    <a:pt x="52" y="18"/>
                    <a:pt x="53" y="18"/>
                  </a:cubicBezTo>
                  <a:cubicBezTo>
                    <a:pt x="54" y="17"/>
                    <a:pt x="55" y="16"/>
                    <a:pt x="55" y="15"/>
                  </a:cubicBezTo>
                  <a:cubicBezTo>
                    <a:pt x="56" y="14"/>
                    <a:pt x="56" y="12"/>
                    <a:pt x="56" y="11"/>
                  </a:cubicBezTo>
                  <a:cubicBezTo>
                    <a:pt x="56" y="10"/>
                    <a:pt x="56" y="8"/>
                    <a:pt x="55" y="7"/>
                  </a:cubicBezTo>
                  <a:cubicBezTo>
                    <a:pt x="55" y="7"/>
                    <a:pt x="54" y="6"/>
                    <a:pt x="53" y="5"/>
                  </a:cubicBezTo>
                  <a:cubicBezTo>
                    <a:pt x="53" y="4"/>
                    <a:pt x="52" y="4"/>
                    <a:pt x="51" y="3"/>
                  </a:cubicBezTo>
                  <a:cubicBezTo>
                    <a:pt x="50" y="3"/>
                    <a:pt x="49" y="3"/>
                    <a:pt x="48" y="2"/>
                  </a:cubicBezTo>
                  <a:cubicBezTo>
                    <a:pt x="47" y="2"/>
                    <a:pt x="46" y="2"/>
                    <a:pt x="45" y="2"/>
                  </a:cubicBezTo>
                  <a:cubicBezTo>
                    <a:pt x="44" y="2"/>
                    <a:pt x="42" y="2"/>
                    <a:pt x="41" y="3"/>
                  </a:cubicBezTo>
                  <a:cubicBezTo>
                    <a:pt x="40" y="3"/>
                    <a:pt x="39" y="4"/>
                    <a:pt x="37" y="4"/>
                  </a:cubicBezTo>
                  <a:cubicBezTo>
                    <a:pt x="36" y="5"/>
                    <a:pt x="35" y="6"/>
                    <a:pt x="35" y="7"/>
                  </a:cubicBezTo>
                  <a:cubicBezTo>
                    <a:pt x="34" y="9"/>
                    <a:pt x="34" y="10"/>
                    <a:pt x="34" y="12"/>
                  </a:cubicBezTo>
                  <a:cubicBezTo>
                    <a:pt x="34" y="13"/>
                    <a:pt x="34" y="14"/>
                    <a:pt x="34" y="15"/>
                  </a:cubicBezTo>
                  <a:cubicBezTo>
                    <a:pt x="34" y="15"/>
                    <a:pt x="35" y="16"/>
                    <a:pt x="35" y="17"/>
                  </a:cubicBezTo>
                  <a:cubicBezTo>
                    <a:pt x="36" y="17"/>
                    <a:pt x="36" y="18"/>
                    <a:pt x="37" y="19"/>
                  </a:cubicBezTo>
                  <a:cubicBezTo>
                    <a:pt x="35" y="19"/>
                    <a:pt x="34" y="20"/>
                    <a:pt x="33" y="21"/>
                  </a:cubicBezTo>
                  <a:cubicBezTo>
                    <a:pt x="31" y="21"/>
                    <a:pt x="30" y="22"/>
                    <a:pt x="29" y="23"/>
                  </a:cubicBezTo>
                  <a:cubicBezTo>
                    <a:pt x="28" y="24"/>
                    <a:pt x="27" y="25"/>
                    <a:pt x="27" y="26"/>
                  </a:cubicBezTo>
                  <a:cubicBezTo>
                    <a:pt x="26" y="28"/>
                    <a:pt x="26" y="29"/>
                    <a:pt x="26" y="31"/>
                  </a:cubicBezTo>
                  <a:cubicBezTo>
                    <a:pt x="26" y="32"/>
                    <a:pt x="26" y="34"/>
                    <a:pt x="27" y="35"/>
                  </a:cubicBezTo>
                  <a:cubicBezTo>
                    <a:pt x="27" y="36"/>
                    <a:pt x="28" y="37"/>
                    <a:pt x="29" y="38"/>
                  </a:cubicBezTo>
                  <a:cubicBezTo>
                    <a:pt x="30" y="39"/>
                    <a:pt x="31" y="39"/>
                    <a:pt x="32" y="40"/>
                  </a:cubicBezTo>
                  <a:cubicBezTo>
                    <a:pt x="33" y="41"/>
                    <a:pt x="34" y="41"/>
                    <a:pt x="35" y="41"/>
                  </a:cubicBezTo>
                  <a:cubicBezTo>
                    <a:pt x="37" y="41"/>
                    <a:pt x="38" y="42"/>
                    <a:pt x="39" y="42"/>
                  </a:cubicBezTo>
                  <a:cubicBezTo>
                    <a:pt x="40" y="42"/>
                    <a:pt x="41" y="42"/>
                    <a:pt x="42" y="41"/>
                  </a:cubicBezTo>
                  <a:cubicBezTo>
                    <a:pt x="43" y="41"/>
                    <a:pt x="44" y="41"/>
                    <a:pt x="45" y="41"/>
                  </a:cubicBezTo>
                  <a:cubicBezTo>
                    <a:pt x="46" y="41"/>
                    <a:pt x="47" y="40"/>
                    <a:pt x="48" y="40"/>
                  </a:cubicBezTo>
                  <a:cubicBezTo>
                    <a:pt x="48" y="40"/>
                    <a:pt x="49" y="39"/>
                    <a:pt x="50" y="39"/>
                  </a:cubicBezTo>
                  <a:lnTo>
                    <a:pt x="51" y="41"/>
                  </a:lnTo>
                  <a:close/>
                  <a:moveTo>
                    <a:pt x="47" y="34"/>
                  </a:moveTo>
                  <a:cubicBezTo>
                    <a:pt x="46" y="34"/>
                    <a:pt x="45" y="35"/>
                    <a:pt x="45" y="35"/>
                  </a:cubicBezTo>
                  <a:cubicBezTo>
                    <a:pt x="44" y="35"/>
                    <a:pt x="43" y="36"/>
                    <a:pt x="42" y="36"/>
                  </a:cubicBezTo>
                  <a:cubicBezTo>
                    <a:pt x="42" y="36"/>
                    <a:pt x="41" y="36"/>
                    <a:pt x="40" y="36"/>
                  </a:cubicBezTo>
                  <a:cubicBezTo>
                    <a:pt x="39" y="36"/>
                    <a:pt x="38" y="36"/>
                    <a:pt x="38" y="36"/>
                  </a:cubicBezTo>
                  <a:cubicBezTo>
                    <a:pt x="37" y="35"/>
                    <a:pt x="36" y="35"/>
                    <a:pt x="35" y="35"/>
                  </a:cubicBezTo>
                  <a:cubicBezTo>
                    <a:pt x="35" y="34"/>
                    <a:pt x="34" y="34"/>
                    <a:pt x="34" y="33"/>
                  </a:cubicBezTo>
                  <a:cubicBezTo>
                    <a:pt x="34" y="32"/>
                    <a:pt x="33" y="31"/>
                    <a:pt x="33" y="30"/>
                  </a:cubicBezTo>
                  <a:cubicBezTo>
                    <a:pt x="33" y="29"/>
                    <a:pt x="34" y="29"/>
                    <a:pt x="34" y="28"/>
                  </a:cubicBezTo>
                  <a:cubicBezTo>
                    <a:pt x="34" y="27"/>
                    <a:pt x="35" y="27"/>
                    <a:pt x="35" y="26"/>
                  </a:cubicBezTo>
                  <a:cubicBezTo>
                    <a:pt x="36" y="25"/>
                    <a:pt x="37" y="25"/>
                    <a:pt x="37" y="25"/>
                  </a:cubicBezTo>
                  <a:cubicBezTo>
                    <a:pt x="38" y="24"/>
                    <a:pt x="39" y="24"/>
                    <a:pt x="40" y="24"/>
                  </a:cubicBezTo>
                  <a:lnTo>
                    <a:pt x="47" y="34"/>
                  </a:lnTo>
                  <a:close/>
                  <a:moveTo>
                    <a:pt x="50" y="11"/>
                  </a:moveTo>
                  <a:cubicBezTo>
                    <a:pt x="50" y="12"/>
                    <a:pt x="49" y="12"/>
                    <a:pt x="49" y="13"/>
                  </a:cubicBezTo>
                  <a:cubicBezTo>
                    <a:pt x="48" y="14"/>
                    <a:pt x="48" y="14"/>
                    <a:pt x="47" y="15"/>
                  </a:cubicBezTo>
                  <a:cubicBezTo>
                    <a:pt x="47" y="15"/>
                    <a:pt x="46" y="16"/>
                    <a:pt x="45" y="16"/>
                  </a:cubicBezTo>
                  <a:cubicBezTo>
                    <a:pt x="44" y="16"/>
                    <a:pt x="44" y="17"/>
                    <a:pt x="43" y="17"/>
                  </a:cubicBezTo>
                  <a:cubicBezTo>
                    <a:pt x="43" y="16"/>
                    <a:pt x="42" y="16"/>
                    <a:pt x="42" y="15"/>
                  </a:cubicBezTo>
                  <a:cubicBezTo>
                    <a:pt x="42" y="15"/>
                    <a:pt x="41" y="14"/>
                    <a:pt x="41" y="14"/>
                  </a:cubicBezTo>
                  <a:cubicBezTo>
                    <a:pt x="41" y="13"/>
                    <a:pt x="41" y="12"/>
                    <a:pt x="41" y="12"/>
                  </a:cubicBezTo>
                  <a:cubicBezTo>
                    <a:pt x="41" y="11"/>
                    <a:pt x="41" y="10"/>
                    <a:pt x="42" y="9"/>
                  </a:cubicBezTo>
                  <a:cubicBezTo>
                    <a:pt x="42" y="9"/>
                    <a:pt x="43" y="8"/>
                    <a:pt x="43" y="8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46" y="7"/>
                    <a:pt x="47" y="7"/>
                    <a:pt x="48" y="8"/>
                  </a:cubicBezTo>
                  <a:cubicBezTo>
                    <a:pt x="48" y="8"/>
                    <a:pt x="49" y="8"/>
                    <a:pt x="49" y="9"/>
                  </a:cubicBezTo>
                  <a:cubicBezTo>
                    <a:pt x="49" y="9"/>
                    <a:pt x="50" y="10"/>
                    <a:pt x="50" y="11"/>
                  </a:cubicBezTo>
                  <a:moveTo>
                    <a:pt x="62" y="9"/>
                  </a:moveTo>
                  <a:cubicBezTo>
                    <a:pt x="73" y="9"/>
                    <a:pt x="73" y="9"/>
                    <a:pt x="73" y="9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64" y="3"/>
                    <a:pt x="64" y="3"/>
                    <a:pt x="64" y="3"/>
                  </a:cubicBezTo>
                  <a:lnTo>
                    <a:pt x="62" y="9"/>
                  </a:lnTo>
                  <a:close/>
                  <a:moveTo>
                    <a:pt x="109" y="9"/>
                  </a:moveTo>
                  <a:cubicBezTo>
                    <a:pt x="120" y="9"/>
                    <a:pt x="120" y="9"/>
                    <a:pt x="120" y="9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11" y="3"/>
                    <a:pt x="111" y="3"/>
                    <a:pt x="111" y="3"/>
                  </a:cubicBezTo>
                  <a:lnTo>
                    <a:pt x="109" y="9"/>
                  </a:lnTo>
                  <a:close/>
                  <a:moveTo>
                    <a:pt x="160" y="29"/>
                  </a:moveTo>
                  <a:cubicBezTo>
                    <a:pt x="160" y="28"/>
                    <a:pt x="160" y="27"/>
                    <a:pt x="160" y="26"/>
                  </a:cubicBezTo>
                  <a:cubicBezTo>
                    <a:pt x="160" y="25"/>
                    <a:pt x="160" y="24"/>
                    <a:pt x="160" y="23"/>
                  </a:cubicBezTo>
                  <a:cubicBezTo>
                    <a:pt x="160" y="20"/>
                    <a:pt x="160" y="18"/>
                    <a:pt x="159" y="17"/>
                  </a:cubicBezTo>
                  <a:cubicBezTo>
                    <a:pt x="158" y="15"/>
                    <a:pt x="157" y="14"/>
                    <a:pt x="155" y="13"/>
                  </a:cubicBezTo>
                  <a:cubicBezTo>
                    <a:pt x="153" y="12"/>
                    <a:pt x="151" y="12"/>
                    <a:pt x="149" y="12"/>
                  </a:cubicBezTo>
                  <a:cubicBezTo>
                    <a:pt x="147" y="12"/>
                    <a:pt x="145" y="12"/>
                    <a:pt x="144" y="13"/>
                  </a:cubicBezTo>
                  <a:cubicBezTo>
                    <a:pt x="142" y="14"/>
                    <a:pt x="141" y="14"/>
                    <a:pt x="139" y="16"/>
                  </a:cubicBezTo>
                  <a:cubicBezTo>
                    <a:pt x="138" y="17"/>
                    <a:pt x="137" y="18"/>
                    <a:pt x="136" y="19"/>
                  </a:cubicBezTo>
                  <a:cubicBezTo>
                    <a:pt x="135" y="21"/>
                    <a:pt x="134" y="22"/>
                    <a:pt x="134" y="24"/>
                  </a:cubicBezTo>
                  <a:cubicBezTo>
                    <a:pt x="133" y="26"/>
                    <a:pt x="133" y="27"/>
                    <a:pt x="133" y="29"/>
                  </a:cubicBezTo>
                  <a:cubicBezTo>
                    <a:pt x="133" y="31"/>
                    <a:pt x="133" y="33"/>
                    <a:pt x="134" y="35"/>
                  </a:cubicBezTo>
                  <a:cubicBezTo>
                    <a:pt x="134" y="36"/>
                    <a:pt x="135" y="38"/>
                    <a:pt x="137" y="39"/>
                  </a:cubicBezTo>
                  <a:cubicBezTo>
                    <a:pt x="138" y="40"/>
                    <a:pt x="139" y="40"/>
                    <a:pt x="141" y="41"/>
                  </a:cubicBezTo>
                  <a:cubicBezTo>
                    <a:pt x="143" y="41"/>
                    <a:pt x="144" y="42"/>
                    <a:pt x="146" y="42"/>
                  </a:cubicBezTo>
                  <a:cubicBezTo>
                    <a:pt x="148" y="42"/>
                    <a:pt x="149" y="41"/>
                    <a:pt x="151" y="41"/>
                  </a:cubicBezTo>
                  <a:cubicBezTo>
                    <a:pt x="153" y="41"/>
                    <a:pt x="154" y="40"/>
                    <a:pt x="155" y="40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5" y="35"/>
                    <a:pt x="154" y="35"/>
                    <a:pt x="152" y="36"/>
                  </a:cubicBezTo>
                  <a:cubicBezTo>
                    <a:pt x="151" y="36"/>
                    <a:pt x="149" y="36"/>
                    <a:pt x="148" y="36"/>
                  </a:cubicBezTo>
                  <a:cubicBezTo>
                    <a:pt x="146" y="36"/>
                    <a:pt x="145" y="36"/>
                    <a:pt x="143" y="36"/>
                  </a:cubicBezTo>
                  <a:cubicBezTo>
                    <a:pt x="142" y="35"/>
                    <a:pt x="141" y="34"/>
                    <a:pt x="141" y="33"/>
                  </a:cubicBezTo>
                  <a:cubicBezTo>
                    <a:pt x="140" y="32"/>
                    <a:pt x="140" y="31"/>
                    <a:pt x="140" y="29"/>
                  </a:cubicBezTo>
                  <a:lnTo>
                    <a:pt x="160" y="29"/>
                  </a:lnTo>
                  <a:close/>
                  <a:moveTo>
                    <a:pt x="141" y="24"/>
                  </a:moveTo>
                  <a:cubicBezTo>
                    <a:pt x="141" y="23"/>
                    <a:pt x="142" y="22"/>
                    <a:pt x="143" y="21"/>
                  </a:cubicBezTo>
                  <a:cubicBezTo>
                    <a:pt x="143" y="20"/>
                    <a:pt x="144" y="19"/>
                    <a:pt x="145" y="18"/>
                  </a:cubicBezTo>
                  <a:cubicBezTo>
                    <a:pt x="146" y="18"/>
                    <a:pt x="147" y="17"/>
                    <a:pt x="149" y="17"/>
                  </a:cubicBezTo>
                  <a:cubicBezTo>
                    <a:pt x="150" y="17"/>
                    <a:pt x="151" y="18"/>
                    <a:pt x="152" y="19"/>
                  </a:cubicBezTo>
                  <a:cubicBezTo>
                    <a:pt x="153" y="19"/>
                    <a:pt x="153" y="21"/>
                    <a:pt x="153" y="22"/>
                  </a:cubicBezTo>
                  <a:cubicBezTo>
                    <a:pt x="153" y="22"/>
                    <a:pt x="153" y="23"/>
                    <a:pt x="153" y="23"/>
                  </a:cubicBezTo>
                  <a:cubicBezTo>
                    <a:pt x="153" y="23"/>
                    <a:pt x="153" y="24"/>
                    <a:pt x="153" y="24"/>
                  </a:cubicBezTo>
                  <a:lnTo>
                    <a:pt x="141" y="24"/>
                  </a:lnTo>
                  <a:close/>
                  <a:moveTo>
                    <a:pt x="188" y="13"/>
                  </a:moveTo>
                  <a:cubicBezTo>
                    <a:pt x="187" y="13"/>
                    <a:pt x="186" y="13"/>
                    <a:pt x="184" y="12"/>
                  </a:cubicBezTo>
                  <a:cubicBezTo>
                    <a:pt x="183" y="12"/>
                    <a:pt x="182" y="12"/>
                    <a:pt x="180" y="12"/>
                  </a:cubicBezTo>
                  <a:cubicBezTo>
                    <a:pt x="178" y="12"/>
                    <a:pt x="176" y="12"/>
                    <a:pt x="174" y="13"/>
                  </a:cubicBezTo>
                  <a:cubicBezTo>
                    <a:pt x="172" y="14"/>
                    <a:pt x="170" y="15"/>
                    <a:pt x="168" y="17"/>
                  </a:cubicBezTo>
                  <a:cubicBezTo>
                    <a:pt x="167" y="19"/>
                    <a:pt x="166" y="20"/>
                    <a:pt x="165" y="23"/>
                  </a:cubicBezTo>
                  <a:cubicBezTo>
                    <a:pt x="164" y="25"/>
                    <a:pt x="164" y="27"/>
                    <a:pt x="164" y="29"/>
                  </a:cubicBezTo>
                  <a:cubicBezTo>
                    <a:pt x="164" y="32"/>
                    <a:pt x="164" y="34"/>
                    <a:pt x="165" y="36"/>
                  </a:cubicBezTo>
                  <a:cubicBezTo>
                    <a:pt x="166" y="38"/>
                    <a:pt x="168" y="39"/>
                    <a:pt x="169" y="40"/>
                  </a:cubicBezTo>
                  <a:cubicBezTo>
                    <a:pt x="171" y="41"/>
                    <a:pt x="173" y="42"/>
                    <a:pt x="176" y="42"/>
                  </a:cubicBezTo>
                  <a:cubicBezTo>
                    <a:pt x="177" y="42"/>
                    <a:pt x="178" y="41"/>
                    <a:pt x="179" y="41"/>
                  </a:cubicBezTo>
                  <a:cubicBezTo>
                    <a:pt x="181" y="41"/>
                    <a:pt x="182" y="41"/>
                    <a:pt x="183" y="40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83" y="35"/>
                    <a:pt x="182" y="35"/>
                    <a:pt x="182" y="35"/>
                  </a:cubicBezTo>
                  <a:cubicBezTo>
                    <a:pt x="181" y="35"/>
                    <a:pt x="180" y="36"/>
                    <a:pt x="180" y="36"/>
                  </a:cubicBezTo>
                  <a:cubicBezTo>
                    <a:pt x="179" y="36"/>
                    <a:pt x="178" y="36"/>
                    <a:pt x="178" y="36"/>
                  </a:cubicBezTo>
                  <a:cubicBezTo>
                    <a:pt x="176" y="36"/>
                    <a:pt x="175" y="36"/>
                    <a:pt x="175" y="35"/>
                  </a:cubicBezTo>
                  <a:cubicBezTo>
                    <a:pt x="174" y="35"/>
                    <a:pt x="173" y="34"/>
                    <a:pt x="173" y="34"/>
                  </a:cubicBezTo>
                  <a:cubicBezTo>
                    <a:pt x="172" y="33"/>
                    <a:pt x="172" y="32"/>
                    <a:pt x="172" y="31"/>
                  </a:cubicBezTo>
                  <a:cubicBezTo>
                    <a:pt x="172" y="30"/>
                    <a:pt x="171" y="29"/>
                    <a:pt x="171" y="29"/>
                  </a:cubicBezTo>
                  <a:cubicBezTo>
                    <a:pt x="171" y="27"/>
                    <a:pt x="172" y="26"/>
                    <a:pt x="172" y="25"/>
                  </a:cubicBezTo>
                  <a:cubicBezTo>
                    <a:pt x="172" y="23"/>
                    <a:pt x="173" y="22"/>
                    <a:pt x="174" y="21"/>
                  </a:cubicBezTo>
                  <a:cubicBezTo>
                    <a:pt x="175" y="20"/>
                    <a:pt x="176" y="19"/>
                    <a:pt x="177" y="19"/>
                  </a:cubicBezTo>
                  <a:cubicBezTo>
                    <a:pt x="178" y="18"/>
                    <a:pt x="179" y="18"/>
                    <a:pt x="181" y="18"/>
                  </a:cubicBezTo>
                  <a:cubicBezTo>
                    <a:pt x="182" y="18"/>
                    <a:pt x="183" y="18"/>
                    <a:pt x="184" y="18"/>
                  </a:cubicBezTo>
                  <a:cubicBezTo>
                    <a:pt x="184" y="18"/>
                    <a:pt x="185" y="19"/>
                    <a:pt x="186" y="19"/>
                  </a:cubicBezTo>
                  <a:lnTo>
                    <a:pt x="188" y="13"/>
                  </a:lnTo>
                  <a:close/>
                  <a:moveTo>
                    <a:pt x="187" y="41"/>
                  </a:moveTo>
                  <a:cubicBezTo>
                    <a:pt x="194" y="41"/>
                    <a:pt x="194" y="41"/>
                    <a:pt x="194" y="41"/>
                  </a:cubicBezTo>
                  <a:cubicBezTo>
                    <a:pt x="197" y="27"/>
                    <a:pt x="197" y="27"/>
                    <a:pt x="197" y="27"/>
                  </a:cubicBezTo>
                  <a:cubicBezTo>
                    <a:pt x="198" y="26"/>
                    <a:pt x="198" y="25"/>
                    <a:pt x="198" y="24"/>
                  </a:cubicBezTo>
                  <a:cubicBezTo>
                    <a:pt x="199" y="22"/>
                    <a:pt x="199" y="22"/>
                    <a:pt x="200" y="21"/>
                  </a:cubicBezTo>
                  <a:cubicBezTo>
                    <a:pt x="200" y="20"/>
                    <a:pt x="201" y="19"/>
                    <a:pt x="202" y="19"/>
                  </a:cubicBezTo>
                  <a:cubicBezTo>
                    <a:pt x="203" y="18"/>
                    <a:pt x="204" y="18"/>
                    <a:pt x="205" y="18"/>
                  </a:cubicBezTo>
                  <a:cubicBezTo>
                    <a:pt x="206" y="18"/>
                    <a:pt x="207" y="18"/>
                    <a:pt x="207" y="18"/>
                  </a:cubicBezTo>
                  <a:cubicBezTo>
                    <a:pt x="208" y="19"/>
                    <a:pt x="208" y="19"/>
                    <a:pt x="209" y="20"/>
                  </a:cubicBezTo>
                  <a:cubicBezTo>
                    <a:pt x="209" y="20"/>
                    <a:pt x="209" y="21"/>
                    <a:pt x="209" y="22"/>
                  </a:cubicBezTo>
                  <a:cubicBezTo>
                    <a:pt x="209" y="23"/>
                    <a:pt x="209" y="24"/>
                    <a:pt x="209" y="25"/>
                  </a:cubicBezTo>
                  <a:cubicBezTo>
                    <a:pt x="209" y="26"/>
                    <a:pt x="209" y="27"/>
                    <a:pt x="208" y="28"/>
                  </a:cubicBezTo>
                  <a:cubicBezTo>
                    <a:pt x="206" y="41"/>
                    <a:pt x="206" y="41"/>
                    <a:pt x="206" y="41"/>
                  </a:cubicBezTo>
                  <a:cubicBezTo>
                    <a:pt x="213" y="41"/>
                    <a:pt x="213" y="41"/>
                    <a:pt x="213" y="41"/>
                  </a:cubicBezTo>
                  <a:cubicBezTo>
                    <a:pt x="216" y="27"/>
                    <a:pt x="216" y="27"/>
                    <a:pt x="216" y="27"/>
                  </a:cubicBezTo>
                  <a:cubicBezTo>
                    <a:pt x="216" y="26"/>
                    <a:pt x="216" y="25"/>
                    <a:pt x="217" y="24"/>
                  </a:cubicBezTo>
                  <a:cubicBezTo>
                    <a:pt x="217" y="23"/>
                    <a:pt x="217" y="22"/>
                    <a:pt x="217" y="21"/>
                  </a:cubicBezTo>
                  <a:cubicBezTo>
                    <a:pt x="217" y="19"/>
                    <a:pt x="217" y="18"/>
                    <a:pt x="216" y="16"/>
                  </a:cubicBezTo>
                  <a:cubicBezTo>
                    <a:pt x="215" y="15"/>
                    <a:pt x="214" y="14"/>
                    <a:pt x="213" y="13"/>
                  </a:cubicBezTo>
                  <a:cubicBezTo>
                    <a:pt x="211" y="12"/>
                    <a:pt x="210" y="12"/>
                    <a:pt x="208" y="12"/>
                  </a:cubicBezTo>
                  <a:cubicBezTo>
                    <a:pt x="207" y="12"/>
                    <a:pt x="206" y="12"/>
                    <a:pt x="205" y="13"/>
                  </a:cubicBezTo>
                  <a:cubicBezTo>
                    <a:pt x="204" y="13"/>
                    <a:pt x="203" y="13"/>
                    <a:pt x="202" y="14"/>
                  </a:cubicBezTo>
                  <a:cubicBezTo>
                    <a:pt x="201" y="14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96" y="0"/>
                    <a:pt x="196" y="0"/>
                    <a:pt x="196" y="0"/>
                  </a:cubicBezTo>
                  <a:lnTo>
                    <a:pt x="187" y="41"/>
                  </a:lnTo>
                  <a:close/>
                  <a:moveTo>
                    <a:pt x="221" y="41"/>
                  </a:moveTo>
                  <a:cubicBezTo>
                    <a:pt x="228" y="41"/>
                    <a:pt x="228" y="41"/>
                    <a:pt x="228" y="41"/>
                  </a:cubicBezTo>
                  <a:cubicBezTo>
                    <a:pt x="231" y="27"/>
                    <a:pt x="231" y="27"/>
                    <a:pt x="231" y="27"/>
                  </a:cubicBezTo>
                  <a:cubicBezTo>
                    <a:pt x="231" y="26"/>
                    <a:pt x="231" y="25"/>
                    <a:pt x="232" y="24"/>
                  </a:cubicBezTo>
                  <a:cubicBezTo>
                    <a:pt x="232" y="22"/>
                    <a:pt x="233" y="22"/>
                    <a:pt x="233" y="21"/>
                  </a:cubicBezTo>
                  <a:cubicBezTo>
                    <a:pt x="234" y="20"/>
                    <a:pt x="235" y="19"/>
                    <a:pt x="236" y="19"/>
                  </a:cubicBezTo>
                  <a:cubicBezTo>
                    <a:pt x="236" y="18"/>
                    <a:pt x="237" y="18"/>
                    <a:pt x="239" y="18"/>
                  </a:cubicBezTo>
                  <a:cubicBezTo>
                    <a:pt x="240" y="18"/>
                    <a:pt x="240" y="18"/>
                    <a:pt x="241" y="18"/>
                  </a:cubicBezTo>
                  <a:cubicBezTo>
                    <a:pt x="241" y="19"/>
                    <a:pt x="242" y="19"/>
                    <a:pt x="242" y="20"/>
                  </a:cubicBezTo>
                  <a:cubicBezTo>
                    <a:pt x="243" y="20"/>
                    <a:pt x="243" y="21"/>
                    <a:pt x="243" y="22"/>
                  </a:cubicBezTo>
                  <a:cubicBezTo>
                    <a:pt x="243" y="23"/>
                    <a:pt x="243" y="24"/>
                    <a:pt x="242" y="25"/>
                  </a:cubicBezTo>
                  <a:cubicBezTo>
                    <a:pt x="242" y="26"/>
                    <a:pt x="242" y="27"/>
                    <a:pt x="242" y="28"/>
                  </a:cubicBezTo>
                  <a:cubicBezTo>
                    <a:pt x="239" y="41"/>
                    <a:pt x="239" y="41"/>
                    <a:pt x="239" y="41"/>
                  </a:cubicBezTo>
                  <a:cubicBezTo>
                    <a:pt x="247" y="41"/>
                    <a:pt x="247" y="41"/>
                    <a:pt x="247" y="41"/>
                  </a:cubicBezTo>
                  <a:cubicBezTo>
                    <a:pt x="249" y="27"/>
                    <a:pt x="249" y="27"/>
                    <a:pt x="249" y="27"/>
                  </a:cubicBezTo>
                  <a:cubicBezTo>
                    <a:pt x="250" y="26"/>
                    <a:pt x="250" y="25"/>
                    <a:pt x="250" y="24"/>
                  </a:cubicBezTo>
                  <a:cubicBezTo>
                    <a:pt x="250" y="23"/>
                    <a:pt x="250" y="22"/>
                    <a:pt x="250" y="21"/>
                  </a:cubicBezTo>
                  <a:cubicBezTo>
                    <a:pt x="250" y="19"/>
                    <a:pt x="250" y="18"/>
                    <a:pt x="249" y="16"/>
                  </a:cubicBezTo>
                  <a:cubicBezTo>
                    <a:pt x="249" y="15"/>
                    <a:pt x="247" y="14"/>
                    <a:pt x="246" y="13"/>
                  </a:cubicBezTo>
                  <a:cubicBezTo>
                    <a:pt x="245" y="12"/>
                    <a:pt x="243" y="12"/>
                    <a:pt x="241" y="12"/>
                  </a:cubicBezTo>
                  <a:cubicBezTo>
                    <a:pt x="240" y="12"/>
                    <a:pt x="239" y="12"/>
                    <a:pt x="238" y="13"/>
                  </a:cubicBezTo>
                  <a:cubicBezTo>
                    <a:pt x="237" y="13"/>
                    <a:pt x="236" y="13"/>
                    <a:pt x="235" y="14"/>
                  </a:cubicBezTo>
                  <a:cubicBezTo>
                    <a:pt x="235" y="14"/>
                    <a:pt x="234" y="15"/>
                    <a:pt x="233" y="15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26" y="13"/>
                    <a:pt x="226" y="14"/>
                    <a:pt x="226" y="14"/>
                  </a:cubicBezTo>
                  <a:cubicBezTo>
                    <a:pt x="226" y="15"/>
                    <a:pt x="226" y="16"/>
                    <a:pt x="226" y="17"/>
                  </a:cubicBezTo>
                  <a:lnTo>
                    <a:pt x="221" y="41"/>
                  </a:lnTo>
                  <a:close/>
                  <a:moveTo>
                    <a:pt x="269" y="36"/>
                  </a:moveTo>
                  <a:cubicBezTo>
                    <a:pt x="267" y="36"/>
                    <a:pt x="266" y="36"/>
                    <a:pt x="265" y="35"/>
                  </a:cubicBezTo>
                  <a:cubicBezTo>
                    <a:pt x="264" y="34"/>
                    <a:pt x="264" y="34"/>
                    <a:pt x="263" y="33"/>
                  </a:cubicBezTo>
                  <a:cubicBezTo>
                    <a:pt x="263" y="32"/>
                    <a:pt x="263" y="30"/>
                    <a:pt x="263" y="29"/>
                  </a:cubicBezTo>
                  <a:cubicBezTo>
                    <a:pt x="263" y="28"/>
                    <a:pt x="263" y="27"/>
                    <a:pt x="263" y="26"/>
                  </a:cubicBezTo>
                  <a:cubicBezTo>
                    <a:pt x="263" y="25"/>
                    <a:pt x="264" y="24"/>
                    <a:pt x="264" y="23"/>
                  </a:cubicBezTo>
                  <a:cubicBezTo>
                    <a:pt x="265" y="22"/>
                    <a:pt x="265" y="21"/>
                    <a:pt x="266" y="20"/>
                  </a:cubicBezTo>
                  <a:cubicBezTo>
                    <a:pt x="267" y="20"/>
                    <a:pt x="267" y="19"/>
                    <a:pt x="268" y="18"/>
                  </a:cubicBezTo>
                  <a:cubicBezTo>
                    <a:pt x="269" y="18"/>
                    <a:pt x="270" y="18"/>
                    <a:pt x="271" y="18"/>
                  </a:cubicBezTo>
                  <a:cubicBezTo>
                    <a:pt x="273" y="18"/>
                    <a:pt x="273" y="18"/>
                    <a:pt x="274" y="18"/>
                  </a:cubicBezTo>
                  <a:cubicBezTo>
                    <a:pt x="275" y="19"/>
                    <a:pt x="275" y="19"/>
                    <a:pt x="276" y="20"/>
                  </a:cubicBezTo>
                  <a:cubicBezTo>
                    <a:pt x="276" y="20"/>
                    <a:pt x="277" y="21"/>
                    <a:pt x="277" y="22"/>
                  </a:cubicBezTo>
                  <a:cubicBezTo>
                    <a:pt x="277" y="23"/>
                    <a:pt x="277" y="24"/>
                    <a:pt x="277" y="24"/>
                  </a:cubicBezTo>
                  <a:cubicBezTo>
                    <a:pt x="277" y="25"/>
                    <a:pt x="277" y="26"/>
                    <a:pt x="277" y="28"/>
                  </a:cubicBezTo>
                  <a:cubicBezTo>
                    <a:pt x="277" y="29"/>
                    <a:pt x="276" y="30"/>
                    <a:pt x="276" y="31"/>
                  </a:cubicBezTo>
                  <a:cubicBezTo>
                    <a:pt x="275" y="32"/>
                    <a:pt x="275" y="32"/>
                    <a:pt x="274" y="33"/>
                  </a:cubicBezTo>
                  <a:cubicBezTo>
                    <a:pt x="273" y="34"/>
                    <a:pt x="273" y="35"/>
                    <a:pt x="272" y="35"/>
                  </a:cubicBezTo>
                  <a:cubicBezTo>
                    <a:pt x="271" y="36"/>
                    <a:pt x="270" y="36"/>
                    <a:pt x="269" y="36"/>
                  </a:cubicBezTo>
                  <a:moveTo>
                    <a:pt x="272" y="12"/>
                  </a:moveTo>
                  <a:cubicBezTo>
                    <a:pt x="269" y="12"/>
                    <a:pt x="267" y="12"/>
                    <a:pt x="265" y="13"/>
                  </a:cubicBezTo>
                  <a:cubicBezTo>
                    <a:pt x="263" y="14"/>
                    <a:pt x="261" y="15"/>
                    <a:pt x="260" y="17"/>
                  </a:cubicBezTo>
                  <a:cubicBezTo>
                    <a:pt x="258" y="18"/>
                    <a:pt x="257" y="20"/>
                    <a:pt x="256" y="22"/>
                  </a:cubicBezTo>
                  <a:cubicBezTo>
                    <a:pt x="256" y="24"/>
                    <a:pt x="255" y="26"/>
                    <a:pt x="255" y="29"/>
                  </a:cubicBezTo>
                  <a:cubicBezTo>
                    <a:pt x="255" y="31"/>
                    <a:pt x="256" y="34"/>
                    <a:pt x="257" y="36"/>
                  </a:cubicBezTo>
                  <a:cubicBezTo>
                    <a:pt x="258" y="37"/>
                    <a:pt x="259" y="39"/>
                    <a:pt x="261" y="40"/>
                  </a:cubicBezTo>
                  <a:cubicBezTo>
                    <a:pt x="263" y="41"/>
                    <a:pt x="265" y="42"/>
                    <a:pt x="268" y="42"/>
                  </a:cubicBezTo>
                  <a:cubicBezTo>
                    <a:pt x="270" y="42"/>
                    <a:pt x="273" y="41"/>
                    <a:pt x="275" y="40"/>
                  </a:cubicBezTo>
                  <a:cubicBezTo>
                    <a:pt x="277" y="39"/>
                    <a:pt x="279" y="38"/>
                    <a:pt x="280" y="37"/>
                  </a:cubicBezTo>
                  <a:cubicBezTo>
                    <a:pt x="282" y="35"/>
                    <a:pt x="283" y="33"/>
                    <a:pt x="284" y="31"/>
                  </a:cubicBezTo>
                  <a:cubicBezTo>
                    <a:pt x="284" y="29"/>
                    <a:pt x="285" y="27"/>
                    <a:pt x="285" y="24"/>
                  </a:cubicBezTo>
                  <a:cubicBezTo>
                    <a:pt x="285" y="22"/>
                    <a:pt x="284" y="21"/>
                    <a:pt x="284" y="19"/>
                  </a:cubicBezTo>
                  <a:cubicBezTo>
                    <a:pt x="283" y="18"/>
                    <a:pt x="282" y="16"/>
                    <a:pt x="281" y="15"/>
                  </a:cubicBezTo>
                  <a:cubicBezTo>
                    <a:pt x="280" y="14"/>
                    <a:pt x="279" y="13"/>
                    <a:pt x="277" y="13"/>
                  </a:cubicBezTo>
                  <a:cubicBezTo>
                    <a:pt x="275" y="12"/>
                    <a:pt x="274" y="12"/>
                    <a:pt x="272" y="12"/>
                  </a:cubicBezTo>
                  <a:moveTo>
                    <a:pt x="287" y="41"/>
                  </a:moveTo>
                  <a:cubicBezTo>
                    <a:pt x="295" y="41"/>
                    <a:pt x="295" y="41"/>
                    <a:pt x="295" y="4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6" y="0"/>
                    <a:pt x="296" y="0"/>
                    <a:pt x="296" y="0"/>
                  </a:cubicBezTo>
                  <a:lnTo>
                    <a:pt x="287" y="41"/>
                  </a:lnTo>
                  <a:close/>
                  <a:moveTo>
                    <a:pt x="317" y="36"/>
                  </a:moveTo>
                  <a:cubicBezTo>
                    <a:pt x="316" y="36"/>
                    <a:pt x="315" y="36"/>
                    <a:pt x="314" y="35"/>
                  </a:cubicBezTo>
                  <a:cubicBezTo>
                    <a:pt x="313" y="34"/>
                    <a:pt x="312" y="34"/>
                    <a:pt x="312" y="33"/>
                  </a:cubicBezTo>
                  <a:cubicBezTo>
                    <a:pt x="312" y="32"/>
                    <a:pt x="311" y="30"/>
                    <a:pt x="311" y="29"/>
                  </a:cubicBezTo>
                  <a:cubicBezTo>
                    <a:pt x="311" y="28"/>
                    <a:pt x="312" y="27"/>
                    <a:pt x="312" y="26"/>
                  </a:cubicBezTo>
                  <a:cubicBezTo>
                    <a:pt x="312" y="25"/>
                    <a:pt x="312" y="24"/>
                    <a:pt x="313" y="23"/>
                  </a:cubicBezTo>
                  <a:cubicBezTo>
                    <a:pt x="313" y="22"/>
                    <a:pt x="314" y="21"/>
                    <a:pt x="315" y="20"/>
                  </a:cubicBezTo>
                  <a:cubicBezTo>
                    <a:pt x="315" y="20"/>
                    <a:pt x="316" y="19"/>
                    <a:pt x="317" y="18"/>
                  </a:cubicBezTo>
                  <a:cubicBezTo>
                    <a:pt x="318" y="18"/>
                    <a:pt x="319" y="18"/>
                    <a:pt x="320" y="18"/>
                  </a:cubicBezTo>
                  <a:cubicBezTo>
                    <a:pt x="321" y="18"/>
                    <a:pt x="322" y="18"/>
                    <a:pt x="323" y="18"/>
                  </a:cubicBezTo>
                  <a:cubicBezTo>
                    <a:pt x="324" y="19"/>
                    <a:pt x="324" y="19"/>
                    <a:pt x="325" y="20"/>
                  </a:cubicBezTo>
                  <a:cubicBezTo>
                    <a:pt x="325" y="20"/>
                    <a:pt x="325" y="21"/>
                    <a:pt x="326" y="22"/>
                  </a:cubicBezTo>
                  <a:cubicBezTo>
                    <a:pt x="326" y="23"/>
                    <a:pt x="326" y="24"/>
                    <a:pt x="326" y="24"/>
                  </a:cubicBezTo>
                  <a:cubicBezTo>
                    <a:pt x="326" y="25"/>
                    <a:pt x="326" y="26"/>
                    <a:pt x="325" y="28"/>
                  </a:cubicBezTo>
                  <a:cubicBezTo>
                    <a:pt x="325" y="29"/>
                    <a:pt x="325" y="30"/>
                    <a:pt x="324" y="31"/>
                  </a:cubicBezTo>
                  <a:cubicBezTo>
                    <a:pt x="324" y="32"/>
                    <a:pt x="323" y="32"/>
                    <a:pt x="323" y="33"/>
                  </a:cubicBezTo>
                  <a:cubicBezTo>
                    <a:pt x="322" y="34"/>
                    <a:pt x="321" y="35"/>
                    <a:pt x="320" y="35"/>
                  </a:cubicBezTo>
                  <a:cubicBezTo>
                    <a:pt x="319" y="36"/>
                    <a:pt x="318" y="36"/>
                    <a:pt x="317" y="36"/>
                  </a:cubicBezTo>
                  <a:moveTo>
                    <a:pt x="321" y="12"/>
                  </a:moveTo>
                  <a:cubicBezTo>
                    <a:pt x="318" y="12"/>
                    <a:pt x="316" y="12"/>
                    <a:pt x="314" y="13"/>
                  </a:cubicBezTo>
                  <a:cubicBezTo>
                    <a:pt x="312" y="14"/>
                    <a:pt x="310" y="15"/>
                    <a:pt x="309" y="17"/>
                  </a:cubicBezTo>
                  <a:cubicBezTo>
                    <a:pt x="307" y="18"/>
                    <a:pt x="306" y="20"/>
                    <a:pt x="305" y="22"/>
                  </a:cubicBezTo>
                  <a:cubicBezTo>
                    <a:pt x="304" y="24"/>
                    <a:pt x="304" y="26"/>
                    <a:pt x="304" y="29"/>
                  </a:cubicBezTo>
                  <a:cubicBezTo>
                    <a:pt x="304" y="31"/>
                    <a:pt x="304" y="34"/>
                    <a:pt x="305" y="36"/>
                  </a:cubicBezTo>
                  <a:cubicBezTo>
                    <a:pt x="306" y="37"/>
                    <a:pt x="308" y="39"/>
                    <a:pt x="310" y="40"/>
                  </a:cubicBezTo>
                  <a:cubicBezTo>
                    <a:pt x="312" y="41"/>
                    <a:pt x="314" y="42"/>
                    <a:pt x="317" y="42"/>
                  </a:cubicBezTo>
                  <a:cubicBezTo>
                    <a:pt x="319" y="42"/>
                    <a:pt x="321" y="41"/>
                    <a:pt x="323" y="40"/>
                  </a:cubicBezTo>
                  <a:cubicBezTo>
                    <a:pt x="326" y="39"/>
                    <a:pt x="327" y="38"/>
                    <a:pt x="329" y="37"/>
                  </a:cubicBezTo>
                  <a:cubicBezTo>
                    <a:pt x="330" y="35"/>
                    <a:pt x="331" y="33"/>
                    <a:pt x="332" y="31"/>
                  </a:cubicBezTo>
                  <a:cubicBezTo>
                    <a:pt x="333" y="29"/>
                    <a:pt x="333" y="27"/>
                    <a:pt x="333" y="24"/>
                  </a:cubicBezTo>
                  <a:cubicBezTo>
                    <a:pt x="333" y="22"/>
                    <a:pt x="333" y="21"/>
                    <a:pt x="332" y="19"/>
                  </a:cubicBezTo>
                  <a:cubicBezTo>
                    <a:pt x="332" y="18"/>
                    <a:pt x="331" y="16"/>
                    <a:pt x="330" y="15"/>
                  </a:cubicBezTo>
                  <a:cubicBezTo>
                    <a:pt x="329" y="14"/>
                    <a:pt x="327" y="13"/>
                    <a:pt x="326" y="13"/>
                  </a:cubicBezTo>
                  <a:cubicBezTo>
                    <a:pt x="324" y="12"/>
                    <a:pt x="322" y="12"/>
                    <a:pt x="321" y="12"/>
                  </a:cubicBezTo>
                  <a:moveTo>
                    <a:pt x="335" y="51"/>
                  </a:moveTo>
                  <a:cubicBezTo>
                    <a:pt x="337" y="52"/>
                    <a:pt x="339" y="52"/>
                    <a:pt x="341" y="53"/>
                  </a:cubicBezTo>
                  <a:cubicBezTo>
                    <a:pt x="343" y="53"/>
                    <a:pt x="345" y="53"/>
                    <a:pt x="347" y="53"/>
                  </a:cubicBezTo>
                  <a:cubicBezTo>
                    <a:pt x="349" y="53"/>
                    <a:pt x="351" y="53"/>
                    <a:pt x="353" y="52"/>
                  </a:cubicBezTo>
                  <a:cubicBezTo>
                    <a:pt x="355" y="51"/>
                    <a:pt x="357" y="50"/>
                    <a:pt x="358" y="49"/>
                  </a:cubicBezTo>
                  <a:cubicBezTo>
                    <a:pt x="359" y="48"/>
                    <a:pt x="360" y="46"/>
                    <a:pt x="361" y="44"/>
                  </a:cubicBezTo>
                  <a:cubicBezTo>
                    <a:pt x="362" y="42"/>
                    <a:pt x="362" y="40"/>
                    <a:pt x="363" y="38"/>
                  </a:cubicBezTo>
                  <a:cubicBezTo>
                    <a:pt x="367" y="17"/>
                    <a:pt x="367" y="17"/>
                    <a:pt x="367" y="17"/>
                  </a:cubicBezTo>
                  <a:cubicBezTo>
                    <a:pt x="367" y="16"/>
                    <a:pt x="368" y="15"/>
                    <a:pt x="368" y="14"/>
                  </a:cubicBezTo>
                  <a:cubicBezTo>
                    <a:pt x="368" y="14"/>
                    <a:pt x="368" y="13"/>
                    <a:pt x="368" y="13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0" y="17"/>
                    <a:pt x="360" y="17"/>
                    <a:pt x="360" y="17"/>
                  </a:cubicBezTo>
                  <a:cubicBezTo>
                    <a:pt x="360" y="16"/>
                    <a:pt x="359" y="15"/>
                    <a:pt x="358" y="14"/>
                  </a:cubicBezTo>
                  <a:cubicBezTo>
                    <a:pt x="357" y="14"/>
                    <a:pt x="356" y="13"/>
                    <a:pt x="355" y="13"/>
                  </a:cubicBezTo>
                  <a:cubicBezTo>
                    <a:pt x="354" y="12"/>
                    <a:pt x="353" y="12"/>
                    <a:pt x="352" y="12"/>
                  </a:cubicBezTo>
                  <a:cubicBezTo>
                    <a:pt x="350" y="12"/>
                    <a:pt x="348" y="12"/>
                    <a:pt x="347" y="13"/>
                  </a:cubicBezTo>
                  <a:cubicBezTo>
                    <a:pt x="345" y="14"/>
                    <a:pt x="344" y="14"/>
                    <a:pt x="343" y="16"/>
                  </a:cubicBezTo>
                  <a:cubicBezTo>
                    <a:pt x="341" y="17"/>
                    <a:pt x="341" y="18"/>
                    <a:pt x="340" y="19"/>
                  </a:cubicBezTo>
                  <a:cubicBezTo>
                    <a:pt x="339" y="21"/>
                    <a:pt x="338" y="22"/>
                    <a:pt x="338" y="24"/>
                  </a:cubicBezTo>
                  <a:cubicBezTo>
                    <a:pt x="338" y="26"/>
                    <a:pt x="337" y="27"/>
                    <a:pt x="337" y="29"/>
                  </a:cubicBezTo>
                  <a:cubicBezTo>
                    <a:pt x="337" y="31"/>
                    <a:pt x="338" y="32"/>
                    <a:pt x="338" y="33"/>
                  </a:cubicBezTo>
                  <a:cubicBezTo>
                    <a:pt x="338" y="35"/>
                    <a:pt x="339" y="36"/>
                    <a:pt x="340" y="37"/>
                  </a:cubicBezTo>
                  <a:cubicBezTo>
                    <a:pt x="340" y="38"/>
                    <a:pt x="341" y="39"/>
                    <a:pt x="343" y="40"/>
                  </a:cubicBezTo>
                  <a:cubicBezTo>
                    <a:pt x="344" y="41"/>
                    <a:pt x="345" y="41"/>
                    <a:pt x="347" y="41"/>
                  </a:cubicBezTo>
                  <a:cubicBezTo>
                    <a:pt x="349" y="41"/>
                    <a:pt x="350" y="41"/>
                    <a:pt x="351" y="40"/>
                  </a:cubicBezTo>
                  <a:cubicBezTo>
                    <a:pt x="352" y="40"/>
                    <a:pt x="353" y="39"/>
                    <a:pt x="354" y="38"/>
                  </a:cubicBezTo>
                  <a:cubicBezTo>
                    <a:pt x="355" y="38"/>
                    <a:pt x="356" y="37"/>
                    <a:pt x="357" y="36"/>
                  </a:cubicBezTo>
                  <a:cubicBezTo>
                    <a:pt x="357" y="36"/>
                    <a:pt x="357" y="36"/>
                    <a:pt x="357" y="36"/>
                  </a:cubicBezTo>
                  <a:cubicBezTo>
                    <a:pt x="356" y="37"/>
                    <a:pt x="356" y="38"/>
                    <a:pt x="356" y="39"/>
                  </a:cubicBezTo>
                  <a:cubicBezTo>
                    <a:pt x="355" y="40"/>
                    <a:pt x="355" y="41"/>
                    <a:pt x="354" y="42"/>
                  </a:cubicBezTo>
                  <a:cubicBezTo>
                    <a:pt x="354" y="43"/>
                    <a:pt x="353" y="44"/>
                    <a:pt x="353" y="45"/>
                  </a:cubicBezTo>
                  <a:cubicBezTo>
                    <a:pt x="352" y="46"/>
                    <a:pt x="351" y="46"/>
                    <a:pt x="350" y="47"/>
                  </a:cubicBezTo>
                  <a:cubicBezTo>
                    <a:pt x="349" y="47"/>
                    <a:pt x="348" y="47"/>
                    <a:pt x="346" y="47"/>
                  </a:cubicBezTo>
                  <a:cubicBezTo>
                    <a:pt x="345" y="47"/>
                    <a:pt x="344" y="47"/>
                    <a:pt x="343" y="47"/>
                  </a:cubicBezTo>
                  <a:cubicBezTo>
                    <a:pt x="342" y="47"/>
                    <a:pt x="341" y="47"/>
                    <a:pt x="340" y="46"/>
                  </a:cubicBezTo>
                  <a:cubicBezTo>
                    <a:pt x="339" y="46"/>
                    <a:pt x="338" y="46"/>
                    <a:pt x="337" y="45"/>
                  </a:cubicBezTo>
                  <a:lnTo>
                    <a:pt x="335" y="51"/>
                  </a:lnTo>
                  <a:close/>
                  <a:moveTo>
                    <a:pt x="358" y="24"/>
                  </a:moveTo>
                  <a:cubicBezTo>
                    <a:pt x="358" y="25"/>
                    <a:pt x="358" y="26"/>
                    <a:pt x="358" y="27"/>
                  </a:cubicBezTo>
                  <a:cubicBezTo>
                    <a:pt x="357" y="28"/>
                    <a:pt x="357" y="29"/>
                    <a:pt x="357" y="30"/>
                  </a:cubicBezTo>
                  <a:cubicBezTo>
                    <a:pt x="356" y="31"/>
                    <a:pt x="356" y="32"/>
                    <a:pt x="355" y="33"/>
                  </a:cubicBezTo>
                  <a:cubicBezTo>
                    <a:pt x="354" y="33"/>
                    <a:pt x="354" y="34"/>
                    <a:pt x="353" y="35"/>
                  </a:cubicBezTo>
                  <a:cubicBezTo>
                    <a:pt x="352" y="35"/>
                    <a:pt x="351" y="35"/>
                    <a:pt x="350" y="35"/>
                  </a:cubicBezTo>
                  <a:cubicBezTo>
                    <a:pt x="349" y="35"/>
                    <a:pt x="348" y="35"/>
                    <a:pt x="347" y="34"/>
                  </a:cubicBezTo>
                  <a:cubicBezTo>
                    <a:pt x="346" y="34"/>
                    <a:pt x="346" y="33"/>
                    <a:pt x="345" y="32"/>
                  </a:cubicBezTo>
                  <a:cubicBezTo>
                    <a:pt x="345" y="31"/>
                    <a:pt x="345" y="30"/>
                    <a:pt x="345" y="29"/>
                  </a:cubicBezTo>
                  <a:cubicBezTo>
                    <a:pt x="345" y="28"/>
                    <a:pt x="345" y="27"/>
                    <a:pt x="345" y="26"/>
                  </a:cubicBezTo>
                  <a:cubicBezTo>
                    <a:pt x="345" y="25"/>
                    <a:pt x="346" y="24"/>
                    <a:pt x="346" y="23"/>
                  </a:cubicBezTo>
                  <a:cubicBezTo>
                    <a:pt x="347" y="22"/>
                    <a:pt x="347" y="21"/>
                    <a:pt x="348" y="20"/>
                  </a:cubicBezTo>
                  <a:cubicBezTo>
                    <a:pt x="348" y="20"/>
                    <a:pt x="349" y="19"/>
                    <a:pt x="350" y="18"/>
                  </a:cubicBezTo>
                  <a:cubicBezTo>
                    <a:pt x="351" y="18"/>
                    <a:pt x="352" y="18"/>
                    <a:pt x="353" y="18"/>
                  </a:cubicBezTo>
                  <a:cubicBezTo>
                    <a:pt x="354" y="18"/>
                    <a:pt x="355" y="18"/>
                    <a:pt x="356" y="19"/>
                  </a:cubicBezTo>
                  <a:cubicBezTo>
                    <a:pt x="356" y="19"/>
                    <a:pt x="357" y="20"/>
                    <a:pt x="357" y="21"/>
                  </a:cubicBezTo>
                  <a:cubicBezTo>
                    <a:pt x="358" y="22"/>
                    <a:pt x="358" y="23"/>
                    <a:pt x="358" y="24"/>
                  </a:cubicBezTo>
                  <a:moveTo>
                    <a:pt x="372" y="13"/>
                  </a:moveTo>
                  <a:cubicBezTo>
                    <a:pt x="377" y="42"/>
                    <a:pt x="377" y="42"/>
                    <a:pt x="377" y="42"/>
                  </a:cubicBezTo>
                  <a:cubicBezTo>
                    <a:pt x="376" y="44"/>
                    <a:pt x="375" y="45"/>
                    <a:pt x="375" y="45"/>
                  </a:cubicBezTo>
                  <a:cubicBezTo>
                    <a:pt x="374" y="46"/>
                    <a:pt x="373" y="47"/>
                    <a:pt x="373" y="47"/>
                  </a:cubicBezTo>
                  <a:cubicBezTo>
                    <a:pt x="372" y="47"/>
                    <a:pt x="371" y="47"/>
                    <a:pt x="371" y="47"/>
                  </a:cubicBezTo>
                  <a:cubicBezTo>
                    <a:pt x="370" y="47"/>
                    <a:pt x="369" y="47"/>
                    <a:pt x="369" y="47"/>
                  </a:cubicBezTo>
                  <a:cubicBezTo>
                    <a:pt x="368" y="47"/>
                    <a:pt x="368" y="47"/>
                    <a:pt x="367" y="47"/>
                  </a:cubicBezTo>
                  <a:cubicBezTo>
                    <a:pt x="366" y="52"/>
                    <a:pt x="366" y="52"/>
                    <a:pt x="366" y="52"/>
                  </a:cubicBezTo>
                  <a:cubicBezTo>
                    <a:pt x="367" y="53"/>
                    <a:pt x="368" y="53"/>
                    <a:pt x="369" y="53"/>
                  </a:cubicBezTo>
                  <a:cubicBezTo>
                    <a:pt x="369" y="53"/>
                    <a:pt x="370" y="53"/>
                    <a:pt x="371" y="53"/>
                  </a:cubicBezTo>
                  <a:cubicBezTo>
                    <a:pt x="373" y="53"/>
                    <a:pt x="374" y="53"/>
                    <a:pt x="375" y="52"/>
                  </a:cubicBezTo>
                  <a:cubicBezTo>
                    <a:pt x="377" y="52"/>
                    <a:pt x="378" y="51"/>
                    <a:pt x="378" y="51"/>
                  </a:cubicBezTo>
                  <a:cubicBezTo>
                    <a:pt x="379" y="50"/>
                    <a:pt x="380" y="49"/>
                    <a:pt x="381" y="48"/>
                  </a:cubicBezTo>
                  <a:cubicBezTo>
                    <a:pt x="381" y="47"/>
                    <a:pt x="382" y="46"/>
                    <a:pt x="383" y="45"/>
                  </a:cubicBezTo>
                  <a:cubicBezTo>
                    <a:pt x="402" y="13"/>
                    <a:pt x="402" y="13"/>
                    <a:pt x="402" y="13"/>
                  </a:cubicBezTo>
                  <a:cubicBezTo>
                    <a:pt x="394" y="13"/>
                    <a:pt x="394" y="13"/>
                    <a:pt x="394" y="13"/>
                  </a:cubicBezTo>
                  <a:cubicBezTo>
                    <a:pt x="382" y="34"/>
                    <a:pt x="382" y="34"/>
                    <a:pt x="382" y="34"/>
                  </a:cubicBezTo>
                  <a:cubicBezTo>
                    <a:pt x="382" y="34"/>
                    <a:pt x="382" y="34"/>
                    <a:pt x="382" y="34"/>
                  </a:cubicBezTo>
                  <a:cubicBezTo>
                    <a:pt x="380" y="13"/>
                    <a:pt x="380" y="13"/>
                    <a:pt x="380" y="13"/>
                  </a:cubicBezTo>
                  <a:lnTo>
                    <a:pt x="372" y="13"/>
                  </a:lnTo>
                  <a:close/>
                  <a:moveTo>
                    <a:pt x="445" y="4"/>
                  </a:moveTo>
                  <a:cubicBezTo>
                    <a:pt x="443" y="3"/>
                    <a:pt x="441" y="3"/>
                    <a:pt x="440" y="2"/>
                  </a:cubicBezTo>
                  <a:cubicBezTo>
                    <a:pt x="438" y="2"/>
                    <a:pt x="436" y="2"/>
                    <a:pt x="435" y="2"/>
                  </a:cubicBezTo>
                  <a:cubicBezTo>
                    <a:pt x="433" y="2"/>
                    <a:pt x="432" y="2"/>
                    <a:pt x="430" y="2"/>
                  </a:cubicBezTo>
                  <a:cubicBezTo>
                    <a:pt x="429" y="3"/>
                    <a:pt x="428" y="3"/>
                    <a:pt x="426" y="4"/>
                  </a:cubicBezTo>
                  <a:cubicBezTo>
                    <a:pt x="425" y="4"/>
                    <a:pt x="424" y="5"/>
                    <a:pt x="423" y="6"/>
                  </a:cubicBezTo>
                  <a:cubicBezTo>
                    <a:pt x="422" y="7"/>
                    <a:pt x="422" y="8"/>
                    <a:pt x="421" y="9"/>
                  </a:cubicBezTo>
                  <a:cubicBezTo>
                    <a:pt x="421" y="11"/>
                    <a:pt x="420" y="12"/>
                    <a:pt x="420" y="14"/>
                  </a:cubicBezTo>
                  <a:cubicBezTo>
                    <a:pt x="420" y="15"/>
                    <a:pt x="421" y="16"/>
                    <a:pt x="421" y="17"/>
                  </a:cubicBezTo>
                  <a:cubicBezTo>
                    <a:pt x="422" y="18"/>
                    <a:pt x="422" y="19"/>
                    <a:pt x="423" y="20"/>
                  </a:cubicBezTo>
                  <a:cubicBezTo>
                    <a:pt x="424" y="21"/>
                    <a:pt x="425" y="21"/>
                    <a:pt x="425" y="22"/>
                  </a:cubicBezTo>
                  <a:cubicBezTo>
                    <a:pt x="426" y="23"/>
                    <a:pt x="427" y="23"/>
                    <a:pt x="428" y="24"/>
                  </a:cubicBezTo>
                  <a:cubicBezTo>
                    <a:pt x="429" y="24"/>
                    <a:pt x="430" y="25"/>
                    <a:pt x="431" y="25"/>
                  </a:cubicBezTo>
                  <a:cubicBezTo>
                    <a:pt x="432" y="26"/>
                    <a:pt x="432" y="26"/>
                    <a:pt x="433" y="27"/>
                  </a:cubicBezTo>
                  <a:cubicBezTo>
                    <a:pt x="433" y="28"/>
                    <a:pt x="433" y="29"/>
                    <a:pt x="433" y="30"/>
                  </a:cubicBezTo>
                  <a:cubicBezTo>
                    <a:pt x="433" y="31"/>
                    <a:pt x="433" y="31"/>
                    <a:pt x="433" y="32"/>
                  </a:cubicBezTo>
                  <a:cubicBezTo>
                    <a:pt x="432" y="33"/>
                    <a:pt x="432" y="34"/>
                    <a:pt x="431" y="34"/>
                  </a:cubicBezTo>
                  <a:cubicBezTo>
                    <a:pt x="430" y="35"/>
                    <a:pt x="430" y="35"/>
                    <a:pt x="429" y="35"/>
                  </a:cubicBezTo>
                  <a:cubicBezTo>
                    <a:pt x="428" y="35"/>
                    <a:pt x="427" y="36"/>
                    <a:pt x="426" y="36"/>
                  </a:cubicBezTo>
                  <a:cubicBezTo>
                    <a:pt x="425" y="36"/>
                    <a:pt x="424" y="35"/>
                    <a:pt x="423" y="35"/>
                  </a:cubicBezTo>
                  <a:cubicBezTo>
                    <a:pt x="422" y="35"/>
                    <a:pt x="421" y="35"/>
                    <a:pt x="420" y="34"/>
                  </a:cubicBezTo>
                  <a:cubicBezTo>
                    <a:pt x="419" y="34"/>
                    <a:pt x="418" y="33"/>
                    <a:pt x="417" y="33"/>
                  </a:cubicBezTo>
                  <a:cubicBezTo>
                    <a:pt x="415" y="39"/>
                    <a:pt x="415" y="39"/>
                    <a:pt x="415" y="39"/>
                  </a:cubicBezTo>
                  <a:cubicBezTo>
                    <a:pt x="417" y="40"/>
                    <a:pt x="418" y="41"/>
                    <a:pt x="420" y="41"/>
                  </a:cubicBezTo>
                  <a:cubicBezTo>
                    <a:pt x="422" y="41"/>
                    <a:pt x="424" y="42"/>
                    <a:pt x="426" y="42"/>
                  </a:cubicBezTo>
                  <a:cubicBezTo>
                    <a:pt x="427" y="42"/>
                    <a:pt x="429" y="41"/>
                    <a:pt x="431" y="41"/>
                  </a:cubicBezTo>
                  <a:cubicBezTo>
                    <a:pt x="432" y="41"/>
                    <a:pt x="434" y="40"/>
                    <a:pt x="435" y="40"/>
                  </a:cubicBezTo>
                  <a:cubicBezTo>
                    <a:pt x="436" y="39"/>
                    <a:pt x="437" y="38"/>
                    <a:pt x="438" y="37"/>
                  </a:cubicBezTo>
                  <a:cubicBezTo>
                    <a:pt x="439" y="36"/>
                    <a:pt x="440" y="35"/>
                    <a:pt x="441" y="34"/>
                  </a:cubicBezTo>
                  <a:cubicBezTo>
                    <a:pt x="441" y="32"/>
                    <a:pt x="441" y="31"/>
                    <a:pt x="441" y="29"/>
                  </a:cubicBezTo>
                  <a:cubicBezTo>
                    <a:pt x="441" y="27"/>
                    <a:pt x="441" y="26"/>
                    <a:pt x="441" y="25"/>
                  </a:cubicBezTo>
                  <a:cubicBezTo>
                    <a:pt x="440" y="24"/>
                    <a:pt x="440" y="23"/>
                    <a:pt x="439" y="22"/>
                  </a:cubicBezTo>
                  <a:cubicBezTo>
                    <a:pt x="438" y="21"/>
                    <a:pt x="437" y="20"/>
                    <a:pt x="436" y="20"/>
                  </a:cubicBezTo>
                  <a:cubicBezTo>
                    <a:pt x="435" y="19"/>
                    <a:pt x="434" y="19"/>
                    <a:pt x="433" y="18"/>
                  </a:cubicBezTo>
                  <a:cubicBezTo>
                    <a:pt x="433" y="18"/>
                    <a:pt x="432" y="17"/>
                    <a:pt x="431" y="16"/>
                  </a:cubicBezTo>
                  <a:cubicBezTo>
                    <a:pt x="430" y="16"/>
                    <a:pt x="430" y="15"/>
                    <a:pt x="429" y="15"/>
                  </a:cubicBezTo>
                  <a:cubicBezTo>
                    <a:pt x="429" y="14"/>
                    <a:pt x="428" y="13"/>
                    <a:pt x="428" y="12"/>
                  </a:cubicBezTo>
                  <a:cubicBezTo>
                    <a:pt x="428" y="12"/>
                    <a:pt x="429" y="11"/>
                    <a:pt x="429" y="10"/>
                  </a:cubicBezTo>
                  <a:cubicBezTo>
                    <a:pt x="429" y="10"/>
                    <a:pt x="430" y="9"/>
                    <a:pt x="431" y="9"/>
                  </a:cubicBezTo>
                  <a:cubicBezTo>
                    <a:pt x="431" y="9"/>
                    <a:pt x="432" y="8"/>
                    <a:pt x="433" y="8"/>
                  </a:cubicBezTo>
                  <a:cubicBezTo>
                    <a:pt x="433" y="8"/>
                    <a:pt x="434" y="8"/>
                    <a:pt x="435" y="8"/>
                  </a:cubicBezTo>
                  <a:cubicBezTo>
                    <a:pt x="436" y="8"/>
                    <a:pt x="437" y="8"/>
                    <a:pt x="438" y="8"/>
                  </a:cubicBezTo>
                  <a:cubicBezTo>
                    <a:pt x="439" y="8"/>
                    <a:pt x="439" y="9"/>
                    <a:pt x="440" y="9"/>
                  </a:cubicBezTo>
                  <a:cubicBezTo>
                    <a:pt x="441" y="9"/>
                    <a:pt x="442" y="10"/>
                    <a:pt x="443" y="10"/>
                  </a:cubicBezTo>
                  <a:lnTo>
                    <a:pt x="445" y="4"/>
                  </a:lnTo>
                  <a:close/>
                  <a:moveTo>
                    <a:pt x="473" y="29"/>
                  </a:moveTo>
                  <a:cubicBezTo>
                    <a:pt x="474" y="28"/>
                    <a:pt x="474" y="27"/>
                    <a:pt x="474" y="26"/>
                  </a:cubicBezTo>
                  <a:cubicBezTo>
                    <a:pt x="474" y="25"/>
                    <a:pt x="474" y="24"/>
                    <a:pt x="474" y="23"/>
                  </a:cubicBezTo>
                  <a:cubicBezTo>
                    <a:pt x="474" y="20"/>
                    <a:pt x="474" y="18"/>
                    <a:pt x="473" y="17"/>
                  </a:cubicBezTo>
                  <a:cubicBezTo>
                    <a:pt x="472" y="15"/>
                    <a:pt x="470" y="14"/>
                    <a:pt x="469" y="13"/>
                  </a:cubicBezTo>
                  <a:cubicBezTo>
                    <a:pt x="467" y="12"/>
                    <a:pt x="465" y="12"/>
                    <a:pt x="462" y="12"/>
                  </a:cubicBezTo>
                  <a:cubicBezTo>
                    <a:pt x="461" y="12"/>
                    <a:pt x="459" y="12"/>
                    <a:pt x="457" y="13"/>
                  </a:cubicBezTo>
                  <a:cubicBezTo>
                    <a:pt x="456" y="14"/>
                    <a:pt x="454" y="14"/>
                    <a:pt x="453" y="16"/>
                  </a:cubicBezTo>
                  <a:cubicBezTo>
                    <a:pt x="452" y="17"/>
                    <a:pt x="450" y="18"/>
                    <a:pt x="449" y="19"/>
                  </a:cubicBezTo>
                  <a:cubicBezTo>
                    <a:pt x="448" y="21"/>
                    <a:pt x="448" y="22"/>
                    <a:pt x="447" y="24"/>
                  </a:cubicBezTo>
                  <a:cubicBezTo>
                    <a:pt x="447" y="26"/>
                    <a:pt x="446" y="27"/>
                    <a:pt x="446" y="29"/>
                  </a:cubicBezTo>
                  <a:cubicBezTo>
                    <a:pt x="446" y="31"/>
                    <a:pt x="447" y="33"/>
                    <a:pt x="447" y="35"/>
                  </a:cubicBezTo>
                  <a:cubicBezTo>
                    <a:pt x="448" y="36"/>
                    <a:pt x="449" y="38"/>
                    <a:pt x="450" y="39"/>
                  </a:cubicBezTo>
                  <a:cubicBezTo>
                    <a:pt x="451" y="40"/>
                    <a:pt x="453" y="40"/>
                    <a:pt x="454" y="41"/>
                  </a:cubicBezTo>
                  <a:cubicBezTo>
                    <a:pt x="456" y="41"/>
                    <a:pt x="458" y="42"/>
                    <a:pt x="460" y="42"/>
                  </a:cubicBezTo>
                  <a:cubicBezTo>
                    <a:pt x="462" y="42"/>
                    <a:pt x="463" y="41"/>
                    <a:pt x="465" y="41"/>
                  </a:cubicBezTo>
                  <a:cubicBezTo>
                    <a:pt x="466" y="41"/>
                    <a:pt x="468" y="40"/>
                    <a:pt x="469" y="40"/>
                  </a:cubicBezTo>
                  <a:cubicBezTo>
                    <a:pt x="470" y="34"/>
                    <a:pt x="470" y="34"/>
                    <a:pt x="470" y="34"/>
                  </a:cubicBezTo>
                  <a:cubicBezTo>
                    <a:pt x="469" y="35"/>
                    <a:pt x="467" y="35"/>
                    <a:pt x="466" y="36"/>
                  </a:cubicBezTo>
                  <a:cubicBezTo>
                    <a:pt x="464" y="36"/>
                    <a:pt x="463" y="36"/>
                    <a:pt x="461" y="36"/>
                  </a:cubicBezTo>
                  <a:cubicBezTo>
                    <a:pt x="460" y="36"/>
                    <a:pt x="458" y="36"/>
                    <a:pt x="457" y="36"/>
                  </a:cubicBezTo>
                  <a:cubicBezTo>
                    <a:pt x="456" y="35"/>
                    <a:pt x="455" y="34"/>
                    <a:pt x="454" y="33"/>
                  </a:cubicBezTo>
                  <a:cubicBezTo>
                    <a:pt x="454" y="32"/>
                    <a:pt x="453" y="31"/>
                    <a:pt x="453" y="29"/>
                  </a:cubicBezTo>
                  <a:lnTo>
                    <a:pt x="473" y="29"/>
                  </a:lnTo>
                  <a:close/>
                  <a:moveTo>
                    <a:pt x="454" y="24"/>
                  </a:moveTo>
                  <a:cubicBezTo>
                    <a:pt x="455" y="23"/>
                    <a:pt x="455" y="22"/>
                    <a:pt x="456" y="21"/>
                  </a:cubicBezTo>
                  <a:cubicBezTo>
                    <a:pt x="457" y="20"/>
                    <a:pt x="458" y="19"/>
                    <a:pt x="459" y="18"/>
                  </a:cubicBezTo>
                  <a:cubicBezTo>
                    <a:pt x="460" y="18"/>
                    <a:pt x="461" y="17"/>
                    <a:pt x="462" y="17"/>
                  </a:cubicBezTo>
                  <a:cubicBezTo>
                    <a:pt x="464" y="17"/>
                    <a:pt x="465" y="18"/>
                    <a:pt x="466" y="19"/>
                  </a:cubicBezTo>
                  <a:cubicBezTo>
                    <a:pt x="467" y="19"/>
                    <a:pt x="467" y="21"/>
                    <a:pt x="467" y="22"/>
                  </a:cubicBezTo>
                  <a:cubicBezTo>
                    <a:pt x="467" y="22"/>
                    <a:pt x="467" y="23"/>
                    <a:pt x="467" y="23"/>
                  </a:cubicBezTo>
                  <a:cubicBezTo>
                    <a:pt x="467" y="23"/>
                    <a:pt x="467" y="24"/>
                    <a:pt x="467" y="24"/>
                  </a:cubicBezTo>
                  <a:lnTo>
                    <a:pt x="454" y="24"/>
                  </a:lnTo>
                  <a:close/>
                  <a:moveTo>
                    <a:pt x="476" y="41"/>
                  </a:moveTo>
                  <a:cubicBezTo>
                    <a:pt x="484" y="41"/>
                    <a:pt x="484" y="41"/>
                    <a:pt x="484" y="41"/>
                  </a:cubicBezTo>
                  <a:cubicBezTo>
                    <a:pt x="486" y="28"/>
                    <a:pt x="486" y="28"/>
                    <a:pt x="486" y="28"/>
                  </a:cubicBezTo>
                  <a:cubicBezTo>
                    <a:pt x="487" y="27"/>
                    <a:pt x="487" y="26"/>
                    <a:pt x="487" y="25"/>
                  </a:cubicBezTo>
                  <a:cubicBezTo>
                    <a:pt x="488" y="24"/>
                    <a:pt x="488" y="23"/>
                    <a:pt x="489" y="22"/>
                  </a:cubicBezTo>
                  <a:cubicBezTo>
                    <a:pt x="490" y="21"/>
                    <a:pt x="491" y="20"/>
                    <a:pt x="492" y="20"/>
                  </a:cubicBezTo>
                  <a:cubicBezTo>
                    <a:pt x="492" y="19"/>
                    <a:pt x="494" y="19"/>
                    <a:pt x="495" y="19"/>
                  </a:cubicBezTo>
                  <a:cubicBezTo>
                    <a:pt x="495" y="19"/>
                    <a:pt x="496" y="19"/>
                    <a:pt x="496" y="19"/>
                  </a:cubicBezTo>
                  <a:cubicBezTo>
                    <a:pt x="497" y="19"/>
                    <a:pt x="497" y="19"/>
                    <a:pt x="498" y="19"/>
                  </a:cubicBezTo>
                  <a:cubicBezTo>
                    <a:pt x="499" y="12"/>
                    <a:pt x="499" y="12"/>
                    <a:pt x="499" y="12"/>
                  </a:cubicBezTo>
                  <a:cubicBezTo>
                    <a:pt x="499" y="12"/>
                    <a:pt x="498" y="12"/>
                    <a:pt x="498" y="12"/>
                  </a:cubicBezTo>
                  <a:cubicBezTo>
                    <a:pt x="497" y="12"/>
                    <a:pt x="497" y="12"/>
                    <a:pt x="496" y="12"/>
                  </a:cubicBezTo>
                  <a:cubicBezTo>
                    <a:pt x="496" y="12"/>
                    <a:pt x="495" y="12"/>
                    <a:pt x="494" y="13"/>
                  </a:cubicBezTo>
                  <a:cubicBezTo>
                    <a:pt x="493" y="13"/>
                    <a:pt x="492" y="13"/>
                    <a:pt x="492" y="14"/>
                  </a:cubicBezTo>
                  <a:cubicBezTo>
                    <a:pt x="491" y="14"/>
                    <a:pt x="490" y="15"/>
                    <a:pt x="490" y="16"/>
                  </a:cubicBezTo>
                  <a:cubicBezTo>
                    <a:pt x="489" y="16"/>
                    <a:pt x="488" y="17"/>
                    <a:pt x="488" y="18"/>
                  </a:cubicBezTo>
                  <a:cubicBezTo>
                    <a:pt x="488" y="18"/>
                    <a:pt x="488" y="18"/>
                    <a:pt x="488" y="18"/>
                  </a:cubicBezTo>
                  <a:cubicBezTo>
                    <a:pt x="489" y="13"/>
                    <a:pt x="489" y="13"/>
                    <a:pt x="489" y="13"/>
                  </a:cubicBezTo>
                  <a:cubicBezTo>
                    <a:pt x="482" y="13"/>
                    <a:pt x="482" y="13"/>
                    <a:pt x="482" y="13"/>
                  </a:cubicBezTo>
                  <a:cubicBezTo>
                    <a:pt x="482" y="14"/>
                    <a:pt x="482" y="15"/>
                    <a:pt x="481" y="16"/>
                  </a:cubicBezTo>
                  <a:lnTo>
                    <a:pt x="476" y="41"/>
                  </a:lnTo>
                  <a:close/>
                  <a:moveTo>
                    <a:pt x="505" y="41"/>
                  </a:moveTo>
                  <a:cubicBezTo>
                    <a:pt x="513" y="41"/>
                    <a:pt x="513" y="41"/>
                    <a:pt x="513" y="41"/>
                  </a:cubicBezTo>
                  <a:cubicBezTo>
                    <a:pt x="529" y="13"/>
                    <a:pt x="529" y="13"/>
                    <a:pt x="529" y="13"/>
                  </a:cubicBezTo>
                  <a:cubicBezTo>
                    <a:pt x="522" y="13"/>
                    <a:pt x="522" y="13"/>
                    <a:pt x="522" y="13"/>
                  </a:cubicBezTo>
                  <a:cubicBezTo>
                    <a:pt x="511" y="33"/>
                    <a:pt x="511" y="33"/>
                    <a:pt x="511" y="33"/>
                  </a:cubicBezTo>
                  <a:cubicBezTo>
                    <a:pt x="510" y="33"/>
                    <a:pt x="510" y="33"/>
                    <a:pt x="510" y="33"/>
                  </a:cubicBezTo>
                  <a:cubicBezTo>
                    <a:pt x="508" y="13"/>
                    <a:pt x="508" y="13"/>
                    <a:pt x="508" y="13"/>
                  </a:cubicBezTo>
                  <a:cubicBezTo>
                    <a:pt x="500" y="13"/>
                    <a:pt x="500" y="13"/>
                    <a:pt x="500" y="13"/>
                  </a:cubicBezTo>
                  <a:lnTo>
                    <a:pt x="505" y="41"/>
                  </a:lnTo>
                  <a:close/>
                  <a:moveTo>
                    <a:pt x="528" y="41"/>
                  </a:moveTo>
                  <a:cubicBezTo>
                    <a:pt x="535" y="41"/>
                    <a:pt x="535" y="41"/>
                    <a:pt x="535" y="41"/>
                  </a:cubicBezTo>
                  <a:cubicBezTo>
                    <a:pt x="541" y="13"/>
                    <a:pt x="541" y="13"/>
                    <a:pt x="541" y="13"/>
                  </a:cubicBezTo>
                  <a:cubicBezTo>
                    <a:pt x="534" y="13"/>
                    <a:pt x="534" y="13"/>
                    <a:pt x="534" y="13"/>
                  </a:cubicBezTo>
                  <a:lnTo>
                    <a:pt x="528" y="41"/>
                  </a:lnTo>
                  <a:close/>
                  <a:moveTo>
                    <a:pt x="535" y="8"/>
                  </a:moveTo>
                  <a:cubicBezTo>
                    <a:pt x="543" y="8"/>
                    <a:pt x="543" y="8"/>
                    <a:pt x="543" y="8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37" y="1"/>
                    <a:pt x="537" y="1"/>
                    <a:pt x="537" y="1"/>
                  </a:cubicBezTo>
                  <a:lnTo>
                    <a:pt x="535" y="8"/>
                  </a:lnTo>
                  <a:close/>
                  <a:moveTo>
                    <a:pt x="568" y="13"/>
                  </a:moveTo>
                  <a:cubicBezTo>
                    <a:pt x="567" y="13"/>
                    <a:pt x="566" y="13"/>
                    <a:pt x="565" y="12"/>
                  </a:cubicBezTo>
                  <a:cubicBezTo>
                    <a:pt x="564" y="12"/>
                    <a:pt x="562" y="12"/>
                    <a:pt x="561" y="12"/>
                  </a:cubicBezTo>
                  <a:cubicBezTo>
                    <a:pt x="559" y="12"/>
                    <a:pt x="556" y="12"/>
                    <a:pt x="554" y="13"/>
                  </a:cubicBezTo>
                  <a:cubicBezTo>
                    <a:pt x="552" y="14"/>
                    <a:pt x="550" y="15"/>
                    <a:pt x="549" y="17"/>
                  </a:cubicBezTo>
                  <a:cubicBezTo>
                    <a:pt x="547" y="19"/>
                    <a:pt x="546" y="20"/>
                    <a:pt x="546" y="23"/>
                  </a:cubicBezTo>
                  <a:cubicBezTo>
                    <a:pt x="545" y="25"/>
                    <a:pt x="544" y="27"/>
                    <a:pt x="544" y="29"/>
                  </a:cubicBezTo>
                  <a:cubicBezTo>
                    <a:pt x="544" y="32"/>
                    <a:pt x="545" y="34"/>
                    <a:pt x="546" y="36"/>
                  </a:cubicBezTo>
                  <a:cubicBezTo>
                    <a:pt x="547" y="38"/>
                    <a:pt x="548" y="39"/>
                    <a:pt x="550" y="40"/>
                  </a:cubicBezTo>
                  <a:cubicBezTo>
                    <a:pt x="552" y="41"/>
                    <a:pt x="554" y="42"/>
                    <a:pt x="556" y="42"/>
                  </a:cubicBezTo>
                  <a:cubicBezTo>
                    <a:pt x="558" y="42"/>
                    <a:pt x="559" y="41"/>
                    <a:pt x="560" y="41"/>
                  </a:cubicBezTo>
                  <a:cubicBezTo>
                    <a:pt x="561" y="41"/>
                    <a:pt x="562" y="41"/>
                    <a:pt x="563" y="40"/>
                  </a:cubicBezTo>
                  <a:cubicBezTo>
                    <a:pt x="564" y="34"/>
                    <a:pt x="564" y="34"/>
                    <a:pt x="564" y="34"/>
                  </a:cubicBezTo>
                  <a:cubicBezTo>
                    <a:pt x="564" y="35"/>
                    <a:pt x="563" y="35"/>
                    <a:pt x="562" y="35"/>
                  </a:cubicBezTo>
                  <a:cubicBezTo>
                    <a:pt x="562" y="35"/>
                    <a:pt x="561" y="36"/>
                    <a:pt x="560" y="36"/>
                  </a:cubicBezTo>
                  <a:cubicBezTo>
                    <a:pt x="560" y="36"/>
                    <a:pt x="559" y="36"/>
                    <a:pt x="558" y="36"/>
                  </a:cubicBezTo>
                  <a:cubicBezTo>
                    <a:pt x="557" y="36"/>
                    <a:pt x="556" y="36"/>
                    <a:pt x="555" y="35"/>
                  </a:cubicBezTo>
                  <a:cubicBezTo>
                    <a:pt x="554" y="35"/>
                    <a:pt x="554" y="34"/>
                    <a:pt x="553" y="34"/>
                  </a:cubicBezTo>
                  <a:cubicBezTo>
                    <a:pt x="553" y="33"/>
                    <a:pt x="553" y="32"/>
                    <a:pt x="552" y="31"/>
                  </a:cubicBezTo>
                  <a:cubicBezTo>
                    <a:pt x="552" y="30"/>
                    <a:pt x="552" y="29"/>
                    <a:pt x="552" y="29"/>
                  </a:cubicBezTo>
                  <a:cubicBezTo>
                    <a:pt x="552" y="27"/>
                    <a:pt x="552" y="26"/>
                    <a:pt x="553" y="25"/>
                  </a:cubicBezTo>
                  <a:cubicBezTo>
                    <a:pt x="553" y="23"/>
                    <a:pt x="554" y="22"/>
                    <a:pt x="554" y="21"/>
                  </a:cubicBezTo>
                  <a:cubicBezTo>
                    <a:pt x="555" y="20"/>
                    <a:pt x="556" y="19"/>
                    <a:pt x="557" y="19"/>
                  </a:cubicBezTo>
                  <a:cubicBezTo>
                    <a:pt x="558" y="18"/>
                    <a:pt x="560" y="18"/>
                    <a:pt x="561" y="18"/>
                  </a:cubicBezTo>
                  <a:cubicBezTo>
                    <a:pt x="562" y="18"/>
                    <a:pt x="563" y="18"/>
                    <a:pt x="564" y="18"/>
                  </a:cubicBezTo>
                  <a:cubicBezTo>
                    <a:pt x="565" y="18"/>
                    <a:pt x="566" y="19"/>
                    <a:pt x="567" y="19"/>
                  </a:cubicBezTo>
                  <a:lnTo>
                    <a:pt x="568" y="13"/>
                  </a:lnTo>
                  <a:close/>
                  <a:moveTo>
                    <a:pt x="595" y="29"/>
                  </a:moveTo>
                  <a:cubicBezTo>
                    <a:pt x="595" y="28"/>
                    <a:pt x="596" y="27"/>
                    <a:pt x="596" y="26"/>
                  </a:cubicBezTo>
                  <a:cubicBezTo>
                    <a:pt x="596" y="25"/>
                    <a:pt x="596" y="24"/>
                    <a:pt x="596" y="23"/>
                  </a:cubicBezTo>
                  <a:cubicBezTo>
                    <a:pt x="596" y="20"/>
                    <a:pt x="595" y="18"/>
                    <a:pt x="594" y="17"/>
                  </a:cubicBezTo>
                  <a:cubicBezTo>
                    <a:pt x="593" y="15"/>
                    <a:pt x="592" y="14"/>
                    <a:pt x="590" y="13"/>
                  </a:cubicBezTo>
                  <a:cubicBezTo>
                    <a:pt x="589" y="12"/>
                    <a:pt x="587" y="12"/>
                    <a:pt x="584" y="12"/>
                  </a:cubicBezTo>
                  <a:cubicBezTo>
                    <a:pt x="582" y="12"/>
                    <a:pt x="581" y="12"/>
                    <a:pt x="579" y="13"/>
                  </a:cubicBezTo>
                  <a:cubicBezTo>
                    <a:pt x="577" y="14"/>
                    <a:pt x="576" y="14"/>
                    <a:pt x="575" y="16"/>
                  </a:cubicBezTo>
                  <a:cubicBezTo>
                    <a:pt x="573" y="17"/>
                    <a:pt x="572" y="18"/>
                    <a:pt x="571" y="19"/>
                  </a:cubicBezTo>
                  <a:cubicBezTo>
                    <a:pt x="570" y="21"/>
                    <a:pt x="570" y="22"/>
                    <a:pt x="569" y="24"/>
                  </a:cubicBezTo>
                  <a:cubicBezTo>
                    <a:pt x="569" y="26"/>
                    <a:pt x="568" y="27"/>
                    <a:pt x="568" y="29"/>
                  </a:cubicBezTo>
                  <a:cubicBezTo>
                    <a:pt x="568" y="31"/>
                    <a:pt x="569" y="33"/>
                    <a:pt x="569" y="35"/>
                  </a:cubicBezTo>
                  <a:cubicBezTo>
                    <a:pt x="570" y="36"/>
                    <a:pt x="571" y="38"/>
                    <a:pt x="572" y="39"/>
                  </a:cubicBezTo>
                  <a:cubicBezTo>
                    <a:pt x="573" y="40"/>
                    <a:pt x="575" y="40"/>
                    <a:pt x="576" y="41"/>
                  </a:cubicBezTo>
                  <a:cubicBezTo>
                    <a:pt x="578" y="41"/>
                    <a:pt x="580" y="42"/>
                    <a:pt x="582" y="42"/>
                  </a:cubicBezTo>
                  <a:cubicBezTo>
                    <a:pt x="583" y="42"/>
                    <a:pt x="585" y="41"/>
                    <a:pt x="586" y="41"/>
                  </a:cubicBezTo>
                  <a:cubicBezTo>
                    <a:pt x="588" y="41"/>
                    <a:pt x="589" y="40"/>
                    <a:pt x="591" y="40"/>
                  </a:cubicBezTo>
                  <a:cubicBezTo>
                    <a:pt x="592" y="34"/>
                    <a:pt x="592" y="34"/>
                    <a:pt x="592" y="34"/>
                  </a:cubicBezTo>
                  <a:cubicBezTo>
                    <a:pt x="590" y="35"/>
                    <a:pt x="589" y="35"/>
                    <a:pt x="588" y="36"/>
                  </a:cubicBezTo>
                  <a:cubicBezTo>
                    <a:pt x="586" y="36"/>
                    <a:pt x="585" y="36"/>
                    <a:pt x="583" y="36"/>
                  </a:cubicBezTo>
                  <a:cubicBezTo>
                    <a:pt x="581" y="36"/>
                    <a:pt x="580" y="36"/>
                    <a:pt x="579" y="36"/>
                  </a:cubicBezTo>
                  <a:cubicBezTo>
                    <a:pt x="578" y="35"/>
                    <a:pt x="577" y="34"/>
                    <a:pt x="576" y="33"/>
                  </a:cubicBezTo>
                  <a:cubicBezTo>
                    <a:pt x="576" y="32"/>
                    <a:pt x="575" y="31"/>
                    <a:pt x="575" y="29"/>
                  </a:cubicBezTo>
                  <a:lnTo>
                    <a:pt x="595" y="29"/>
                  </a:lnTo>
                  <a:close/>
                  <a:moveTo>
                    <a:pt x="576" y="24"/>
                  </a:moveTo>
                  <a:cubicBezTo>
                    <a:pt x="577" y="23"/>
                    <a:pt x="577" y="22"/>
                    <a:pt x="578" y="21"/>
                  </a:cubicBezTo>
                  <a:cubicBezTo>
                    <a:pt x="579" y="20"/>
                    <a:pt x="579" y="19"/>
                    <a:pt x="580" y="18"/>
                  </a:cubicBezTo>
                  <a:cubicBezTo>
                    <a:pt x="581" y="18"/>
                    <a:pt x="583" y="17"/>
                    <a:pt x="584" y="17"/>
                  </a:cubicBezTo>
                  <a:cubicBezTo>
                    <a:pt x="586" y="17"/>
                    <a:pt x="587" y="18"/>
                    <a:pt x="588" y="19"/>
                  </a:cubicBezTo>
                  <a:cubicBezTo>
                    <a:pt x="588" y="19"/>
                    <a:pt x="589" y="21"/>
                    <a:pt x="589" y="22"/>
                  </a:cubicBezTo>
                  <a:cubicBezTo>
                    <a:pt x="589" y="22"/>
                    <a:pt x="589" y="23"/>
                    <a:pt x="589" y="23"/>
                  </a:cubicBezTo>
                  <a:cubicBezTo>
                    <a:pt x="589" y="23"/>
                    <a:pt x="589" y="24"/>
                    <a:pt x="589" y="24"/>
                  </a:cubicBezTo>
                  <a:lnTo>
                    <a:pt x="576" y="24"/>
                  </a:lnTo>
                  <a:close/>
                  <a:moveTo>
                    <a:pt x="621" y="13"/>
                  </a:moveTo>
                  <a:cubicBezTo>
                    <a:pt x="620" y="13"/>
                    <a:pt x="619" y="13"/>
                    <a:pt x="617" y="12"/>
                  </a:cubicBezTo>
                  <a:cubicBezTo>
                    <a:pt x="616" y="12"/>
                    <a:pt x="615" y="12"/>
                    <a:pt x="613" y="12"/>
                  </a:cubicBezTo>
                  <a:cubicBezTo>
                    <a:pt x="612" y="12"/>
                    <a:pt x="611" y="12"/>
                    <a:pt x="610" y="12"/>
                  </a:cubicBezTo>
                  <a:cubicBezTo>
                    <a:pt x="609" y="13"/>
                    <a:pt x="607" y="13"/>
                    <a:pt x="606" y="13"/>
                  </a:cubicBezTo>
                  <a:cubicBezTo>
                    <a:pt x="605" y="14"/>
                    <a:pt x="604" y="14"/>
                    <a:pt x="604" y="15"/>
                  </a:cubicBezTo>
                  <a:cubicBezTo>
                    <a:pt x="603" y="16"/>
                    <a:pt x="602" y="17"/>
                    <a:pt x="602" y="18"/>
                  </a:cubicBezTo>
                  <a:cubicBezTo>
                    <a:pt x="601" y="19"/>
                    <a:pt x="601" y="20"/>
                    <a:pt x="601" y="21"/>
                  </a:cubicBezTo>
                  <a:cubicBezTo>
                    <a:pt x="601" y="22"/>
                    <a:pt x="601" y="23"/>
                    <a:pt x="602" y="24"/>
                  </a:cubicBezTo>
                  <a:cubicBezTo>
                    <a:pt x="602" y="25"/>
                    <a:pt x="603" y="26"/>
                    <a:pt x="603" y="26"/>
                  </a:cubicBezTo>
                  <a:cubicBezTo>
                    <a:pt x="604" y="27"/>
                    <a:pt x="605" y="27"/>
                    <a:pt x="606" y="28"/>
                  </a:cubicBezTo>
                  <a:cubicBezTo>
                    <a:pt x="607" y="29"/>
                    <a:pt x="607" y="29"/>
                    <a:pt x="608" y="29"/>
                  </a:cubicBezTo>
                  <a:cubicBezTo>
                    <a:pt x="609" y="30"/>
                    <a:pt x="609" y="31"/>
                    <a:pt x="610" y="31"/>
                  </a:cubicBezTo>
                  <a:cubicBezTo>
                    <a:pt x="610" y="32"/>
                    <a:pt x="610" y="32"/>
                    <a:pt x="610" y="33"/>
                  </a:cubicBezTo>
                  <a:cubicBezTo>
                    <a:pt x="610" y="34"/>
                    <a:pt x="610" y="34"/>
                    <a:pt x="610" y="35"/>
                  </a:cubicBezTo>
                  <a:cubicBezTo>
                    <a:pt x="610" y="35"/>
                    <a:pt x="609" y="35"/>
                    <a:pt x="609" y="36"/>
                  </a:cubicBezTo>
                  <a:cubicBezTo>
                    <a:pt x="608" y="36"/>
                    <a:pt x="608" y="36"/>
                    <a:pt x="607" y="36"/>
                  </a:cubicBezTo>
                  <a:cubicBezTo>
                    <a:pt x="607" y="36"/>
                    <a:pt x="606" y="36"/>
                    <a:pt x="605" y="36"/>
                  </a:cubicBezTo>
                  <a:cubicBezTo>
                    <a:pt x="605" y="36"/>
                    <a:pt x="604" y="36"/>
                    <a:pt x="603" y="36"/>
                  </a:cubicBezTo>
                  <a:cubicBezTo>
                    <a:pt x="602" y="36"/>
                    <a:pt x="601" y="35"/>
                    <a:pt x="601" y="35"/>
                  </a:cubicBezTo>
                  <a:cubicBezTo>
                    <a:pt x="600" y="35"/>
                    <a:pt x="599" y="34"/>
                    <a:pt x="598" y="34"/>
                  </a:cubicBezTo>
                  <a:cubicBezTo>
                    <a:pt x="597" y="40"/>
                    <a:pt x="597" y="40"/>
                    <a:pt x="597" y="40"/>
                  </a:cubicBezTo>
                  <a:cubicBezTo>
                    <a:pt x="598" y="40"/>
                    <a:pt x="600" y="41"/>
                    <a:pt x="601" y="41"/>
                  </a:cubicBezTo>
                  <a:cubicBezTo>
                    <a:pt x="603" y="41"/>
                    <a:pt x="604" y="42"/>
                    <a:pt x="605" y="42"/>
                  </a:cubicBezTo>
                  <a:cubicBezTo>
                    <a:pt x="607" y="42"/>
                    <a:pt x="608" y="41"/>
                    <a:pt x="609" y="41"/>
                  </a:cubicBezTo>
                  <a:cubicBezTo>
                    <a:pt x="610" y="41"/>
                    <a:pt x="612" y="41"/>
                    <a:pt x="613" y="40"/>
                  </a:cubicBezTo>
                  <a:cubicBezTo>
                    <a:pt x="614" y="40"/>
                    <a:pt x="615" y="39"/>
                    <a:pt x="616" y="39"/>
                  </a:cubicBezTo>
                  <a:cubicBezTo>
                    <a:pt x="616" y="38"/>
                    <a:pt x="617" y="37"/>
                    <a:pt x="617" y="36"/>
                  </a:cubicBezTo>
                  <a:cubicBezTo>
                    <a:pt x="618" y="35"/>
                    <a:pt x="618" y="33"/>
                    <a:pt x="618" y="32"/>
                  </a:cubicBezTo>
                  <a:cubicBezTo>
                    <a:pt x="618" y="31"/>
                    <a:pt x="618" y="30"/>
                    <a:pt x="617" y="29"/>
                  </a:cubicBezTo>
                  <a:cubicBezTo>
                    <a:pt x="617" y="28"/>
                    <a:pt x="616" y="27"/>
                    <a:pt x="616" y="27"/>
                  </a:cubicBezTo>
                  <a:cubicBezTo>
                    <a:pt x="615" y="26"/>
                    <a:pt x="614" y="25"/>
                    <a:pt x="613" y="25"/>
                  </a:cubicBezTo>
                  <a:cubicBezTo>
                    <a:pt x="613" y="24"/>
                    <a:pt x="612" y="24"/>
                    <a:pt x="611" y="23"/>
                  </a:cubicBezTo>
                  <a:cubicBezTo>
                    <a:pt x="610" y="23"/>
                    <a:pt x="610" y="22"/>
                    <a:pt x="609" y="22"/>
                  </a:cubicBezTo>
                  <a:cubicBezTo>
                    <a:pt x="609" y="21"/>
                    <a:pt x="609" y="21"/>
                    <a:pt x="609" y="20"/>
                  </a:cubicBezTo>
                  <a:cubicBezTo>
                    <a:pt x="609" y="20"/>
                    <a:pt x="609" y="19"/>
                    <a:pt x="609" y="19"/>
                  </a:cubicBezTo>
                  <a:cubicBezTo>
                    <a:pt x="609" y="18"/>
                    <a:pt x="610" y="18"/>
                    <a:pt x="610" y="18"/>
                  </a:cubicBezTo>
                  <a:cubicBezTo>
                    <a:pt x="611" y="18"/>
                    <a:pt x="611" y="18"/>
                    <a:pt x="612" y="18"/>
                  </a:cubicBezTo>
                  <a:cubicBezTo>
                    <a:pt x="612" y="17"/>
                    <a:pt x="613" y="17"/>
                    <a:pt x="614" y="17"/>
                  </a:cubicBezTo>
                  <a:cubicBezTo>
                    <a:pt x="615" y="17"/>
                    <a:pt x="616" y="18"/>
                    <a:pt x="617" y="18"/>
                  </a:cubicBezTo>
                  <a:cubicBezTo>
                    <a:pt x="618" y="18"/>
                    <a:pt x="619" y="18"/>
                    <a:pt x="620" y="19"/>
                  </a:cubicBezTo>
                  <a:lnTo>
                    <a:pt x="621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IN" sz="1800">
                <a:solidFill>
                  <a:srgbClr val="000000"/>
                </a:solidFill>
              </a:endParaRPr>
            </a:p>
          </p:txBody>
        </p:sp>
      </p:grpSp>
      <p:sp>
        <p:nvSpPr>
          <p:cNvPr id="23" name="Text Placeholder 1030"/>
          <p:cNvSpPr>
            <a:spLocks noGrp="1"/>
          </p:cNvSpPr>
          <p:nvPr>
            <p:ph type="body" sz="quarter" idx="10" hasCustomPrompt="1"/>
          </p:nvPr>
        </p:nvSpPr>
        <p:spPr>
          <a:xfrm>
            <a:off x="399133" y="4646313"/>
            <a:ext cx="4858623" cy="46357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/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  <a:endParaRPr lang="en-IN" dirty="0"/>
          </a:p>
        </p:txBody>
      </p:sp>
      <p:sp>
        <p:nvSpPr>
          <p:cNvPr id="24" name="Text Placeholder 1030"/>
          <p:cNvSpPr>
            <a:spLocks noGrp="1"/>
          </p:cNvSpPr>
          <p:nvPr>
            <p:ph type="body" sz="quarter" idx="11" hasCustomPrompt="1"/>
          </p:nvPr>
        </p:nvSpPr>
        <p:spPr>
          <a:xfrm>
            <a:off x="399133" y="5252919"/>
            <a:ext cx="4858623" cy="46357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dirty="0"/>
              <a:t>Designation </a:t>
            </a:r>
            <a:endParaRPr lang="en-IN" dirty="0"/>
          </a:p>
        </p:txBody>
      </p:sp>
      <p:sp>
        <p:nvSpPr>
          <p:cNvPr id="26" name="Parallelogram 25"/>
          <p:cNvSpPr/>
          <p:nvPr userDrawn="1"/>
        </p:nvSpPr>
        <p:spPr>
          <a:xfrm>
            <a:off x="5756786" y="3518"/>
            <a:ext cx="6435213" cy="6553269"/>
          </a:xfrm>
          <a:custGeom>
            <a:avLst/>
            <a:gdLst/>
            <a:ahLst/>
            <a:cxnLst/>
            <a:rect l="l" t="t" r="r" b="b"/>
            <a:pathLst>
              <a:path w="5048250" h="5140862">
                <a:moveTo>
                  <a:pt x="3013830" y="0"/>
                </a:moveTo>
                <a:lnTo>
                  <a:pt x="5048250" y="0"/>
                </a:lnTo>
                <a:lnTo>
                  <a:pt x="5048250" y="5140862"/>
                </a:lnTo>
                <a:lnTo>
                  <a:pt x="0" y="51408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IN" sz="1800">
              <a:solidFill>
                <a:srgbClr val="000000"/>
              </a:solidFill>
            </a:endParaRP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5839351" y="-1"/>
            <a:ext cx="6352651" cy="6556788"/>
          </a:xfrm>
          <a:custGeom>
            <a:avLst/>
            <a:gdLst/>
            <a:ahLst/>
            <a:cxnLst/>
            <a:rect l="l" t="t" r="r" b="b"/>
            <a:pathLst>
              <a:path w="5052943" h="5125139">
                <a:moveTo>
                  <a:pt x="3057525" y="0"/>
                </a:moveTo>
                <a:lnTo>
                  <a:pt x="5048250" y="0"/>
                </a:lnTo>
                <a:lnTo>
                  <a:pt x="5048250" y="1"/>
                </a:lnTo>
                <a:lnTo>
                  <a:pt x="5048250" y="3152775"/>
                </a:lnTo>
                <a:lnTo>
                  <a:pt x="5052943" y="3152775"/>
                </a:lnTo>
                <a:lnTo>
                  <a:pt x="5052943" y="5125138"/>
                </a:lnTo>
                <a:lnTo>
                  <a:pt x="5048250" y="5125138"/>
                </a:lnTo>
                <a:lnTo>
                  <a:pt x="3057525" y="5125138"/>
                </a:lnTo>
                <a:lnTo>
                  <a:pt x="2052619" y="5125138"/>
                </a:lnTo>
                <a:lnTo>
                  <a:pt x="2052618" y="5125139"/>
                </a:lnTo>
                <a:lnTo>
                  <a:pt x="0" y="5125139"/>
                </a:lnTo>
                <a:lnTo>
                  <a:pt x="2995632" y="1"/>
                </a:lnTo>
                <a:lnTo>
                  <a:pt x="3057525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lIns="0" tIns="0" rIns="324000" bIns="0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en-IN" sz="1333" baseline="0" dirty="0"/>
            </a:lvl1pPr>
          </a:lstStyle>
          <a:p>
            <a:r>
              <a:rPr lang="en-IN" sz="1867" dirty="0"/>
              <a:t>Click icon to add imag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721214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0" y="1"/>
            <a:ext cx="12192000" cy="6554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-1" y="0"/>
            <a:ext cx="12183353" cy="6553200"/>
            <a:chOff x="-1" y="0"/>
            <a:chExt cx="9137515" cy="4914900"/>
          </a:xfrm>
        </p:grpSpPr>
        <p:grpSp>
          <p:nvGrpSpPr>
            <p:cNvPr id="36" name="Group 87"/>
            <p:cNvGrpSpPr/>
            <p:nvPr userDrawn="1"/>
          </p:nvGrpSpPr>
          <p:grpSpPr>
            <a:xfrm>
              <a:off x="142570" y="6214"/>
              <a:ext cx="8858313" cy="4908686"/>
              <a:chOff x="142672" y="603115"/>
              <a:chExt cx="8864600" cy="4338536"/>
            </a:xfrm>
          </p:grpSpPr>
          <p:cxnSp>
            <p:nvCxnSpPr>
              <p:cNvPr id="71" name="Straight Connector 70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254"/>
            <p:cNvGrpSpPr/>
            <p:nvPr userDrawn="1"/>
          </p:nvGrpSpPr>
          <p:grpSpPr>
            <a:xfrm>
              <a:off x="-1" y="0"/>
              <a:ext cx="9137515" cy="4896684"/>
              <a:chOff x="-4568761" y="0"/>
              <a:chExt cx="13706276" cy="4896684"/>
            </a:xfrm>
          </p:grpSpPr>
          <p:cxnSp>
            <p:nvCxnSpPr>
              <p:cNvPr id="38" name="Straight Connector 37"/>
              <p:cNvCxnSpPr/>
              <p:nvPr userDrawn="1"/>
            </p:nvCxnSpPr>
            <p:spPr>
              <a:xfrm flipH="1">
                <a:off x="-4568761" y="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 flipH="1">
                <a:off x="-4568761" y="15283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 flipH="1">
                <a:off x="-4568761" y="30567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 userDrawn="1"/>
            </p:nvCxnSpPr>
            <p:spPr>
              <a:xfrm flipH="1">
                <a:off x="-4568761" y="45851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 flipH="1">
                <a:off x="-4568761" y="61135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 userDrawn="1"/>
            </p:nvCxnSpPr>
            <p:spPr>
              <a:xfrm flipH="1">
                <a:off x="-4568761" y="76419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 flipH="1">
                <a:off x="-4568761" y="91702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 flipH="1">
                <a:off x="-4568761" y="106986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 flipH="1">
                <a:off x="-4568761" y="122270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 flipH="1">
                <a:off x="-4568761" y="137554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 flipH="1">
                <a:off x="-4568761" y="152838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 flipH="1">
                <a:off x="-4568761" y="168121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 flipH="1">
                <a:off x="-4568761" y="183405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 flipH="1">
                <a:off x="-4568761" y="198689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 flipH="1">
                <a:off x="-4568761" y="213973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 flipH="1">
                <a:off x="-4568761" y="229257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 flipH="1">
                <a:off x="-4568761" y="244540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 flipH="1">
                <a:off x="-4568761" y="259824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 flipH="1">
                <a:off x="-4568761" y="275108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 flipH="1">
                <a:off x="-4568761" y="290392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 flipH="1">
                <a:off x="-4568761" y="305676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 flipH="1">
                <a:off x="-4568761" y="320959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 flipH="1">
                <a:off x="-4568761" y="336243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 flipH="1">
                <a:off x="-4568761" y="351527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 flipH="1">
                <a:off x="-4568761" y="366811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 flipH="1">
                <a:off x="-4568761" y="382095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 flipH="1">
                <a:off x="-4568761" y="397378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 flipH="1">
                <a:off x="-4568761" y="412662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 flipH="1">
                <a:off x="-4568761" y="427946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 flipH="1">
                <a:off x="-4568761" y="443817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 flipH="1">
                <a:off x="-4568761" y="459100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 flipH="1">
                <a:off x="-4568761" y="474384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 flipH="1">
                <a:off x="-4568761" y="489668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474" y="1323939"/>
            <a:ext cx="3528087" cy="1325563"/>
          </a:xfrm>
          <a:prstGeom prst="rect">
            <a:avLst/>
          </a:prstGeom>
        </p:spPr>
        <p:txBody>
          <a:bodyPr/>
          <a:lstStyle>
            <a:lvl1pPr algn="ctr">
              <a:defRPr sz="4267"/>
            </a:lvl1pPr>
          </a:lstStyle>
          <a:p>
            <a:r>
              <a:rPr lang="en-US" dirty="0"/>
              <a:t>Thank you.</a:t>
            </a:r>
            <a:endParaRPr lang="en-IN" dirty="0"/>
          </a:p>
        </p:txBody>
      </p:sp>
      <p:sp>
        <p:nvSpPr>
          <p:cNvPr id="17" name="Freeform 17"/>
          <p:cNvSpPr>
            <a:spLocks/>
          </p:cNvSpPr>
          <p:nvPr userDrawn="1"/>
        </p:nvSpPr>
        <p:spPr bwMode="auto">
          <a:xfrm>
            <a:off x="1" y="3530451"/>
            <a:ext cx="3210233" cy="767632"/>
          </a:xfrm>
          <a:custGeom>
            <a:avLst/>
            <a:gdLst/>
            <a:ahLst/>
            <a:cxnLst/>
            <a:rect l="l" t="t" r="r" b="b"/>
            <a:pathLst>
              <a:path w="2402984" h="575724">
                <a:moveTo>
                  <a:pt x="0" y="0"/>
                </a:moveTo>
                <a:lnTo>
                  <a:pt x="2402984" y="0"/>
                </a:lnTo>
                <a:lnTo>
                  <a:pt x="2052676" y="575724"/>
                </a:lnTo>
                <a:lnTo>
                  <a:pt x="0" y="57572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IN" sz="1800">
              <a:solidFill>
                <a:srgbClr val="000000"/>
              </a:solidFill>
            </a:endParaRPr>
          </a:p>
        </p:txBody>
      </p:sp>
      <p:grpSp>
        <p:nvGrpSpPr>
          <p:cNvPr id="18" name="Group 5"/>
          <p:cNvGrpSpPr>
            <a:grpSpLocks noChangeAspect="1"/>
          </p:cNvGrpSpPr>
          <p:nvPr userDrawn="1"/>
        </p:nvGrpSpPr>
        <p:grpSpPr bwMode="auto">
          <a:xfrm>
            <a:off x="150620" y="3719371"/>
            <a:ext cx="2592000" cy="389157"/>
            <a:chOff x="119" y="2341"/>
            <a:chExt cx="1805" cy="271"/>
          </a:xfrm>
        </p:grpSpPr>
        <p:sp>
          <p:nvSpPr>
            <p:cNvPr id="19" name="Freeform 6"/>
            <p:cNvSpPr>
              <a:spLocks noEditPoints="1"/>
            </p:cNvSpPr>
            <p:nvPr userDrawn="1"/>
          </p:nvSpPr>
          <p:spPr bwMode="auto">
            <a:xfrm>
              <a:off x="119" y="2341"/>
              <a:ext cx="270" cy="271"/>
            </a:xfrm>
            <a:custGeom>
              <a:avLst/>
              <a:gdLst>
                <a:gd name="T0" fmla="*/ 57 w 114"/>
                <a:gd name="T1" fmla="*/ 0 h 115"/>
                <a:gd name="T2" fmla="*/ 114 w 114"/>
                <a:gd name="T3" fmla="*/ 58 h 115"/>
                <a:gd name="T4" fmla="*/ 57 w 114"/>
                <a:gd name="T5" fmla="*/ 115 h 115"/>
                <a:gd name="T6" fmla="*/ 0 w 114"/>
                <a:gd name="T7" fmla="*/ 58 h 115"/>
                <a:gd name="T8" fmla="*/ 57 w 114"/>
                <a:gd name="T9" fmla="*/ 0 h 115"/>
                <a:gd name="T10" fmla="*/ 49 w 114"/>
                <a:gd name="T11" fmla="*/ 107 h 115"/>
                <a:gd name="T12" fmla="*/ 73 w 114"/>
                <a:gd name="T13" fmla="*/ 65 h 115"/>
                <a:gd name="T14" fmla="*/ 57 w 114"/>
                <a:gd name="T15" fmla="*/ 65 h 115"/>
                <a:gd name="T16" fmla="*/ 65 w 114"/>
                <a:gd name="T17" fmla="*/ 51 h 115"/>
                <a:gd name="T18" fmla="*/ 104 w 114"/>
                <a:gd name="T19" fmla="*/ 51 h 115"/>
                <a:gd name="T20" fmla="*/ 96 w 114"/>
                <a:gd name="T21" fmla="*/ 65 h 115"/>
                <a:gd name="T22" fmla="*/ 82 w 114"/>
                <a:gd name="T23" fmla="*/ 65 h 115"/>
                <a:gd name="T24" fmla="*/ 57 w 114"/>
                <a:gd name="T25" fmla="*/ 108 h 115"/>
                <a:gd name="T26" fmla="*/ 107 w 114"/>
                <a:gd name="T27" fmla="*/ 58 h 115"/>
                <a:gd name="T28" fmla="*/ 57 w 114"/>
                <a:gd name="T29" fmla="*/ 8 h 115"/>
                <a:gd name="T30" fmla="*/ 51 w 114"/>
                <a:gd name="T31" fmla="*/ 8 h 115"/>
                <a:gd name="T32" fmla="*/ 26 w 114"/>
                <a:gd name="T33" fmla="*/ 51 h 115"/>
                <a:gd name="T34" fmla="*/ 57 w 114"/>
                <a:gd name="T35" fmla="*/ 51 h 115"/>
                <a:gd name="T36" fmla="*/ 49 w 114"/>
                <a:gd name="T37" fmla="*/ 65 h 115"/>
                <a:gd name="T38" fmla="*/ 10 w 114"/>
                <a:gd name="T39" fmla="*/ 65 h 115"/>
                <a:gd name="T40" fmla="*/ 41 w 114"/>
                <a:gd name="T41" fmla="*/ 10 h 115"/>
                <a:gd name="T42" fmla="*/ 7 w 114"/>
                <a:gd name="T43" fmla="*/ 58 h 115"/>
                <a:gd name="T44" fmla="*/ 49 w 114"/>
                <a:gd name="T45" fmla="*/ 10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4" h="115">
                  <a:moveTo>
                    <a:pt x="57" y="0"/>
                  </a:moveTo>
                  <a:cubicBezTo>
                    <a:pt x="88" y="0"/>
                    <a:pt x="114" y="26"/>
                    <a:pt x="114" y="58"/>
                  </a:cubicBezTo>
                  <a:cubicBezTo>
                    <a:pt x="114" y="89"/>
                    <a:pt x="88" y="115"/>
                    <a:pt x="57" y="115"/>
                  </a:cubicBezTo>
                  <a:cubicBezTo>
                    <a:pt x="25" y="115"/>
                    <a:pt x="0" y="89"/>
                    <a:pt x="0" y="58"/>
                  </a:cubicBezTo>
                  <a:cubicBezTo>
                    <a:pt x="0" y="26"/>
                    <a:pt x="25" y="0"/>
                    <a:pt x="57" y="0"/>
                  </a:cubicBezTo>
                  <a:moveTo>
                    <a:pt x="49" y="107"/>
                  </a:moveTo>
                  <a:cubicBezTo>
                    <a:pt x="73" y="65"/>
                    <a:pt x="73" y="65"/>
                    <a:pt x="73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57" y="108"/>
                    <a:pt x="57" y="108"/>
                    <a:pt x="57" y="108"/>
                  </a:cubicBezTo>
                  <a:cubicBezTo>
                    <a:pt x="84" y="108"/>
                    <a:pt x="107" y="85"/>
                    <a:pt x="107" y="58"/>
                  </a:cubicBezTo>
                  <a:cubicBezTo>
                    <a:pt x="107" y="30"/>
                    <a:pt x="84" y="8"/>
                    <a:pt x="57" y="8"/>
                  </a:cubicBezTo>
                  <a:cubicBezTo>
                    <a:pt x="55" y="8"/>
                    <a:pt x="53" y="8"/>
                    <a:pt x="51" y="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1" y="17"/>
                    <a:pt x="7" y="36"/>
                    <a:pt x="7" y="58"/>
                  </a:cubicBezTo>
                  <a:cubicBezTo>
                    <a:pt x="7" y="83"/>
                    <a:pt x="25" y="103"/>
                    <a:pt x="49" y="10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IN" sz="180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457" y="2426"/>
              <a:ext cx="1467" cy="125"/>
            </a:xfrm>
            <a:custGeom>
              <a:avLst/>
              <a:gdLst>
                <a:gd name="T0" fmla="*/ 55 w 621"/>
                <a:gd name="T1" fmla="*/ 34 h 53"/>
                <a:gd name="T2" fmla="*/ 53 w 621"/>
                <a:gd name="T3" fmla="*/ 18 h 53"/>
                <a:gd name="T4" fmla="*/ 35 w 621"/>
                <a:gd name="T5" fmla="*/ 7 h 53"/>
                <a:gd name="T6" fmla="*/ 29 w 621"/>
                <a:gd name="T7" fmla="*/ 38 h 53"/>
                <a:gd name="T8" fmla="*/ 45 w 621"/>
                <a:gd name="T9" fmla="*/ 35 h 53"/>
                <a:gd name="T10" fmla="*/ 40 w 621"/>
                <a:gd name="T11" fmla="*/ 24 h 53"/>
                <a:gd name="T12" fmla="*/ 42 w 621"/>
                <a:gd name="T13" fmla="*/ 9 h 53"/>
                <a:gd name="T14" fmla="*/ 81 w 621"/>
                <a:gd name="T15" fmla="*/ 9 h 53"/>
                <a:gd name="T16" fmla="*/ 139 w 621"/>
                <a:gd name="T17" fmla="*/ 9 h 53"/>
                <a:gd name="T18" fmla="*/ 144 w 621"/>
                <a:gd name="T19" fmla="*/ 13 h 53"/>
                <a:gd name="T20" fmla="*/ 155 w 621"/>
                <a:gd name="T21" fmla="*/ 40 h 53"/>
                <a:gd name="T22" fmla="*/ 145 w 621"/>
                <a:gd name="T23" fmla="*/ 18 h 53"/>
                <a:gd name="T24" fmla="*/ 174 w 621"/>
                <a:gd name="T25" fmla="*/ 13 h 53"/>
                <a:gd name="T26" fmla="*/ 182 w 621"/>
                <a:gd name="T27" fmla="*/ 35 h 53"/>
                <a:gd name="T28" fmla="*/ 181 w 621"/>
                <a:gd name="T29" fmla="*/ 18 h 53"/>
                <a:gd name="T30" fmla="*/ 205 w 621"/>
                <a:gd name="T31" fmla="*/ 18 h 53"/>
                <a:gd name="T32" fmla="*/ 217 w 621"/>
                <a:gd name="T33" fmla="*/ 21 h 53"/>
                <a:gd name="T34" fmla="*/ 187 w 621"/>
                <a:gd name="T35" fmla="*/ 41 h 53"/>
                <a:gd name="T36" fmla="*/ 243 w 621"/>
                <a:gd name="T37" fmla="*/ 22 h 53"/>
                <a:gd name="T38" fmla="*/ 241 w 621"/>
                <a:gd name="T39" fmla="*/ 12 h 53"/>
                <a:gd name="T40" fmla="*/ 269 w 621"/>
                <a:gd name="T41" fmla="*/ 36 h 53"/>
                <a:gd name="T42" fmla="*/ 276 w 621"/>
                <a:gd name="T43" fmla="*/ 20 h 53"/>
                <a:gd name="T44" fmla="*/ 260 w 621"/>
                <a:gd name="T45" fmla="*/ 17 h 53"/>
                <a:gd name="T46" fmla="*/ 284 w 621"/>
                <a:gd name="T47" fmla="*/ 19 h 53"/>
                <a:gd name="T48" fmla="*/ 314 w 621"/>
                <a:gd name="T49" fmla="*/ 35 h 53"/>
                <a:gd name="T50" fmla="*/ 326 w 621"/>
                <a:gd name="T51" fmla="*/ 22 h 53"/>
                <a:gd name="T52" fmla="*/ 305 w 621"/>
                <a:gd name="T53" fmla="*/ 22 h 53"/>
                <a:gd name="T54" fmla="*/ 330 w 621"/>
                <a:gd name="T55" fmla="*/ 15 h 53"/>
                <a:gd name="T56" fmla="*/ 367 w 621"/>
                <a:gd name="T57" fmla="*/ 17 h 53"/>
                <a:gd name="T58" fmla="*/ 340 w 621"/>
                <a:gd name="T59" fmla="*/ 19 h 53"/>
                <a:gd name="T60" fmla="*/ 357 w 621"/>
                <a:gd name="T61" fmla="*/ 36 h 53"/>
                <a:gd name="T62" fmla="*/ 358 w 621"/>
                <a:gd name="T63" fmla="*/ 24 h 53"/>
                <a:gd name="T64" fmla="*/ 346 w 621"/>
                <a:gd name="T65" fmla="*/ 23 h 53"/>
                <a:gd name="T66" fmla="*/ 373 w 621"/>
                <a:gd name="T67" fmla="*/ 47 h 53"/>
                <a:gd name="T68" fmla="*/ 383 w 621"/>
                <a:gd name="T69" fmla="*/ 45 h 53"/>
                <a:gd name="T70" fmla="*/ 430 w 621"/>
                <a:gd name="T71" fmla="*/ 2 h 53"/>
                <a:gd name="T72" fmla="*/ 433 w 621"/>
                <a:gd name="T73" fmla="*/ 27 h 53"/>
                <a:gd name="T74" fmla="*/ 420 w 621"/>
                <a:gd name="T75" fmla="*/ 41 h 53"/>
                <a:gd name="T76" fmla="*/ 433 w 621"/>
                <a:gd name="T77" fmla="*/ 18 h 53"/>
                <a:gd name="T78" fmla="*/ 443 w 621"/>
                <a:gd name="T79" fmla="*/ 10 h 53"/>
                <a:gd name="T80" fmla="*/ 449 w 621"/>
                <a:gd name="T81" fmla="*/ 19 h 53"/>
                <a:gd name="T82" fmla="*/ 466 w 621"/>
                <a:gd name="T83" fmla="*/ 36 h 53"/>
                <a:gd name="T84" fmla="*/ 466 w 621"/>
                <a:gd name="T85" fmla="*/ 19 h 53"/>
                <a:gd name="T86" fmla="*/ 492 w 621"/>
                <a:gd name="T87" fmla="*/ 20 h 53"/>
                <a:gd name="T88" fmla="*/ 488 w 621"/>
                <a:gd name="T89" fmla="*/ 18 h 53"/>
                <a:gd name="T90" fmla="*/ 511 w 621"/>
                <a:gd name="T91" fmla="*/ 33 h 53"/>
                <a:gd name="T92" fmla="*/ 535 w 621"/>
                <a:gd name="T93" fmla="*/ 8 h 53"/>
                <a:gd name="T94" fmla="*/ 546 w 621"/>
                <a:gd name="T95" fmla="*/ 23 h 53"/>
                <a:gd name="T96" fmla="*/ 558 w 621"/>
                <a:gd name="T97" fmla="*/ 36 h 53"/>
                <a:gd name="T98" fmla="*/ 567 w 621"/>
                <a:gd name="T99" fmla="*/ 19 h 53"/>
                <a:gd name="T100" fmla="*/ 571 w 621"/>
                <a:gd name="T101" fmla="*/ 19 h 53"/>
                <a:gd name="T102" fmla="*/ 588 w 621"/>
                <a:gd name="T103" fmla="*/ 36 h 53"/>
                <a:gd name="T104" fmla="*/ 588 w 621"/>
                <a:gd name="T105" fmla="*/ 19 h 53"/>
                <a:gd name="T106" fmla="*/ 604 w 621"/>
                <a:gd name="T107" fmla="*/ 15 h 53"/>
                <a:gd name="T108" fmla="*/ 609 w 621"/>
                <a:gd name="T109" fmla="*/ 36 h 53"/>
                <a:gd name="T110" fmla="*/ 613 w 621"/>
                <a:gd name="T111" fmla="*/ 40 h 53"/>
                <a:gd name="T112" fmla="*/ 609 w 621"/>
                <a:gd name="T113" fmla="*/ 1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1" h="53">
                  <a:moveTo>
                    <a:pt x="0" y="41"/>
                  </a:moveTo>
                  <a:cubicBezTo>
                    <a:pt x="22" y="41"/>
                    <a:pt x="22" y="41"/>
                    <a:pt x="22" y="41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0" y="41"/>
                  </a:lnTo>
                  <a:close/>
                  <a:moveTo>
                    <a:pt x="51" y="41"/>
                  </a:moveTo>
                  <a:cubicBezTo>
                    <a:pt x="59" y="41"/>
                    <a:pt x="59" y="41"/>
                    <a:pt x="59" y="4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6" y="33"/>
                    <a:pt x="57" y="32"/>
                    <a:pt x="58" y="30"/>
                  </a:cubicBezTo>
                  <a:cubicBezTo>
                    <a:pt x="59" y="29"/>
                    <a:pt x="60" y="27"/>
                    <a:pt x="60" y="25"/>
                  </a:cubicBezTo>
                  <a:cubicBezTo>
                    <a:pt x="61" y="24"/>
                    <a:pt x="61" y="22"/>
                    <a:pt x="61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1"/>
                    <a:pt x="55" y="22"/>
                    <a:pt x="54" y="23"/>
                  </a:cubicBezTo>
                  <a:cubicBezTo>
                    <a:pt x="54" y="24"/>
                    <a:pt x="54" y="25"/>
                    <a:pt x="53" y="26"/>
                  </a:cubicBezTo>
                  <a:cubicBezTo>
                    <a:pt x="53" y="27"/>
                    <a:pt x="52" y="28"/>
                    <a:pt x="51" y="29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7" y="21"/>
                    <a:pt x="48" y="20"/>
                    <a:pt x="50" y="20"/>
                  </a:cubicBezTo>
                  <a:cubicBezTo>
                    <a:pt x="51" y="19"/>
                    <a:pt x="52" y="18"/>
                    <a:pt x="53" y="18"/>
                  </a:cubicBezTo>
                  <a:cubicBezTo>
                    <a:pt x="54" y="17"/>
                    <a:pt x="55" y="16"/>
                    <a:pt x="55" y="15"/>
                  </a:cubicBezTo>
                  <a:cubicBezTo>
                    <a:pt x="56" y="14"/>
                    <a:pt x="56" y="12"/>
                    <a:pt x="56" y="11"/>
                  </a:cubicBezTo>
                  <a:cubicBezTo>
                    <a:pt x="56" y="10"/>
                    <a:pt x="56" y="8"/>
                    <a:pt x="55" y="7"/>
                  </a:cubicBezTo>
                  <a:cubicBezTo>
                    <a:pt x="55" y="7"/>
                    <a:pt x="54" y="6"/>
                    <a:pt x="53" y="5"/>
                  </a:cubicBezTo>
                  <a:cubicBezTo>
                    <a:pt x="53" y="4"/>
                    <a:pt x="52" y="4"/>
                    <a:pt x="51" y="3"/>
                  </a:cubicBezTo>
                  <a:cubicBezTo>
                    <a:pt x="50" y="3"/>
                    <a:pt x="49" y="3"/>
                    <a:pt x="48" y="2"/>
                  </a:cubicBezTo>
                  <a:cubicBezTo>
                    <a:pt x="47" y="2"/>
                    <a:pt x="46" y="2"/>
                    <a:pt x="45" y="2"/>
                  </a:cubicBezTo>
                  <a:cubicBezTo>
                    <a:pt x="44" y="2"/>
                    <a:pt x="42" y="2"/>
                    <a:pt x="41" y="3"/>
                  </a:cubicBezTo>
                  <a:cubicBezTo>
                    <a:pt x="40" y="3"/>
                    <a:pt x="39" y="4"/>
                    <a:pt x="37" y="4"/>
                  </a:cubicBezTo>
                  <a:cubicBezTo>
                    <a:pt x="36" y="5"/>
                    <a:pt x="35" y="6"/>
                    <a:pt x="35" y="7"/>
                  </a:cubicBezTo>
                  <a:cubicBezTo>
                    <a:pt x="34" y="9"/>
                    <a:pt x="34" y="10"/>
                    <a:pt x="34" y="12"/>
                  </a:cubicBezTo>
                  <a:cubicBezTo>
                    <a:pt x="34" y="13"/>
                    <a:pt x="34" y="14"/>
                    <a:pt x="34" y="15"/>
                  </a:cubicBezTo>
                  <a:cubicBezTo>
                    <a:pt x="34" y="15"/>
                    <a:pt x="35" y="16"/>
                    <a:pt x="35" y="17"/>
                  </a:cubicBezTo>
                  <a:cubicBezTo>
                    <a:pt x="36" y="17"/>
                    <a:pt x="36" y="18"/>
                    <a:pt x="37" y="19"/>
                  </a:cubicBezTo>
                  <a:cubicBezTo>
                    <a:pt x="35" y="19"/>
                    <a:pt x="34" y="20"/>
                    <a:pt x="33" y="21"/>
                  </a:cubicBezTo>
                  <a:cubicBezTo>
                    <a:pt x="31" y="21"/>
                    <a:pt x="30" y="22"/>
                    <a:pt x="29" y="23"/>
                  </a:cubicBezTo>
                  <a:cubicBezTo>
                    <a:pt x="28" y="24"/>
                    <a:pt x="27" y="25"/>
                    <a:pt x="27" y="26"/>
                  </a:cubicBezTo>
                  <a:cubicBezTo>
                    <a:pt x="26" y="28"/>
                    <a:pt x="26" y="29"/>
                    <a:pt x="26" y="31"/>
                  </a:cubicBezTo>
                  <a:cubicBezTo>
                    <a:pt x="26" y="32"/>
                    <a:pt x="26" y="34"/>
                    <a:pt x="27" y="35"/>
                  </a:cubicBezTo>
                  <a:cubicBezTo>
                    <a:pt x="27" y="36"/>
                    <a:pt x="28" y="37"/>
                    <a:pt x="29" y="38"/>
                  </a:cubicBezTo>
                  <a:cubicBezTo>
                    <a:pt x="30" y="39"/>
                    <a:pt x="31" y="39"/>
                    <a:pt x="32" y="40"/>
                  </a:cubicBezTo>
                  <a:cubicBezTo>
                    <a:pt x="33" y="41"/>
                    <a:pt x="34" y="41"/>
                    <a:pt x="35" y="41"/>
                  </a:cubicBezTo>
                  <a:cubicBezTo>
                    <a:pt x="37" y="41"/>
                    <a:pt x="38" y="42"/>
                    <a:pt x="39" y="42"/>
                  </a:cubicBezTo>
                  <a:cubicBezTo>
                    <a:pt x="40" y="42"/>
                    <a:pt x="41" y="42"/>
                    <a:pt x="42" y="41"/>
                  </a:cubicBezTo>
                  <a:cubicBezTo>
                    <a:pt x="43" y="41"/>
                    <a:pt x="44" y="41"/>
                    <a:pt x="45" y="41"/>
                  </a:cubicBezTo>
                  <a:cubicBezTo>
                    <a:pt x="46" y="41"/>
                    <a:pt x="47" y="40"/>
                    <a:pt x="48" y="40"/>
                  </a:cubicBezTo>
                  <a:cubicBezTo>
                    <a:pt x="48" y="40"/>
                    <a:pt x="49" y="39"/>
                    <a:pt x="50" y="39"/>
                  </a:cubicBezTo>
                  <a:lnTo>
                    <a:pt x="51" y="41"/>
                  </a:lnTo>
                  <a:close/>
                  <a:moveTo>
                    <a:pt x="47" y="34"/>
                  </a:moveTo>
                  <a:cubicBezTo>
                    <a:pt x="46" y="34"/>
                    <a:pt x="45" y="35"/>
                    <a:pt x="45" y="35"/>
                  </a:cubicBezTo>
                  <a:cubicBezTo>
                    <a:pt x="44" y="35"/>
                    <a:pt x="43" y="36"/>
                    <a:pt x="42" y="36"/>
                  </a:cubicBezTo>
                  <a:cubicBezTo>
                    <a:pt x="42" y="36"/>
                    <a:pt x="41" y="36"/>
                    <a:pt x="40" y="36"/>
                  </a:cubicBezTo>
                  <a:cubicBezTo>
                    <a:pt x="39" y="36"/>
                    <a:pt x="38" y="36"/>
                    <a:pt x="38" y="36"/>
                  </a:cubicBezTo>
                  <a:cubicBezTo>
                    <a:pt x="37" y="35"/>
                    <a:pt x="36" y="35"/>
                    <a:pt x="35" y="35"/>
                  </a:cubicBezTo>
                  <a:cubicBezTo>
                    <a:pt x="35" y="34"/>
                    <a:pt x="34" y="34"/>
                    <a:pt x="34" y="33"/>
                  </a:cubicBezTo>
                  <a:cubicBezTo>
                    <a:pt x="34" y="32"/>
                    <a:pt x="33" y="31"/>
                    <a:pt x="33" y="30"/>
                  </a:cubicBezTo>
                  <a:cubicBezTo>
                    <a:pt x="33" y="29"/>
                    <a:pt x="34" y="29"/>
                    <a:pt x="34" y="28"/>
                  </a:cubicBezTo>
                  <a:cubicBezTo>
                    <a:pt x="34" y="27"/>
                    <a:pt x="35" y="27"/>
                    <a:pt x="35" y="26"/>
                  </a:cubicBezTo>
                  <a:cubicBezTo>
                    <a:pt x="36" y="25"/>
                    <a:pt x="37" y="25"/>
                    <a:pt x="37" y="25"/>
                  </a:cubicBezTo>
                  <a:cubicBezTo>
                    <a:pt x="38" y="24"/>
                    <a:pt x="39" y="24"/>
                    <a:pt x="40" y="24"/>
                  </a:cubicBezTo>
                  <a:lnTo>
                    <a:pt x="47" y="34"/>
                  </a:lnTo>
                  <a:close/>
                  <a:moveTo>
                    <a:pt x="50" y="11"/>
                  </a:moveTo>
                  <a:cubicBezTo>
                    <a:pt x="50" y="12"/>
                    <a:pt x="49" y="12"/>
                    <a:pt x="49" y="13"/>
                  </a:cubicBezTo>
                  <a:cubicBezTo>
                    <a:pt x="48" y="14"/>
                    <a:pt x="48" y="14"/>
                    <a:pt x="47" y="15"/>
                  </a:cubicBezTo>
                  <a:cubicBezTo>
                    <a:pt x="47" y="15"/>
                    <a:pt x="46" y="16"/>
                    <a:pt x="45" y="16"/>
                  </a:cubicBezTo>
                  <a:cubicBezTo>
                    <a:pt x="44" y="16"/>
                    <a:pt x="44" y="17"/>
                    <a:pt x="43" y="17"/>
                  </a:cubicBezTo>
                  <a:cubicBezTo>
                    <a:pt x="43" y="16"/>
                    <a:pt x="42" y="16"/>
                    <a:pt x="42" y="15"/>
                  </a:cubicBezTo>
                  <a:cubicBezTo>
                    <a:pt x="42" y="15"/>
                    <a:pt x="41" y="14"/>
                    <a:pt x="41" y="14"/>
                  </a:cubicBezTo>
                  <a:cubicBezTo>
                    <a:pt x="41" y="13"/>
                    <a:pt x="41" y="12"/>
                    <a:pt x="41" y="12"/>
                  </a:cubicBezTo>
                  <a:cubicBezTo>
                    <a:pt x="41" y="11"/>
                    <a:pt x="41" y="10"/>
                    <a:pt x="42" y="9"/>
                  </a:cubicBezTo>
                  <a:cubicBezTo>
                    <a:pt x="42" y="9"/>
                    <a:pt x="43" y="8"/>
                    <a:pt x="43" y="8"/>
                  </a:cubicBezTo>
                  <a:cubicBezTo>
                    <a:pt x="44" y="8"/>
                    <a:pt x="45" y="7"/>
                    <a:pt x="46" y="7"/>
                  </a:cubicBezTo>
                  <a:cubicBezTo>
                    <a:pt x="46" y="7"/>
                    <a:pt x="47" y="7"/>
                    <a:pt x="48" y="8"/>
                  </a:cubicBezTo>
                  <a:cubicBezTo>
                    <a:pt x="48" y="8"/>
                    <a:pt x="49" y="8"/>
                    <a:pt x="49" y="9"/>
                  </a:cubicBezTo>
                  <a:cubicBezTo>
                    <a:pt x="49" y="9"/>
                    <a:pt x="50" y="10"/>
                    <a:pt x="50" y="11"/>
                  </a:cubicBezTo>
                  <a:moveTo>
                    <a:pt x="62" y="9"/>
                  </a:moveTo>
                  <a:cubicBezTo>
                    <a:pt x="73" y="9"/>
                    <a:pt x="73" y="9"/>
                    <a:pt x="73" y="9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64" y="3"/>
                    <a:pt x="64" y="3"/>
                    <a:pt x="64" y="3"/>
                  </a:cubicBezTo>
                  <a:lnTo>
                    <a:pt x="62" y="9"/>
                  </a:lnTo>
                  <a:close/>
                  <a:moveTo>
                    <a:pt x="109" y="9"/>
                  </a:moveTo>
                  <a:cubicBezTo>
                    <a:pt x="120" y="9"/>
                    <a:pt x="120" y="9"/>
                    <a:pt x="120" y="9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11" y="3"/>
                    <a:pt x="111" y="3"/>
                    <a:pt x="111" y="3"/>
                  </a:cubicBezTo>
                  <a:lnTo>
                    <a:pt x="109" y="9"/>
                  </a:lnTo>
                  <a:close/>
                  <a:moveTo>
                    <a:pt x="160" y="29"/>
                  </a:moveTo>
                  <a:cubicBezTo>
                    <a:pt x="160" y="28"/>
                    <a:pt x="160" y="27"/>
                    <a:pt x="160" y="26"/>
                  </a:cubicBezTo>
                  <a:cubicBezTo>
                    <a:pt x="160" y="25"/>
                    <a:pt x="160" y="24"/>
                    <a:pt x="160" y="23"/>
                  </a:cubicBezTo>
                  <a:cubicBezTo>
                    <a:pt x="160" y="20"/>
                    <a:pt x="160" y="18"/>
                    <a:pt x="159" y="17"/>
                  </a:cubicBezTo>
                  <a:cubicBezTo>
                    <a:pt x="158" y="15"/>
                    <a:pt x="157" y="14"/>
                    <a:pt x="155" y="13"/>
                  </a:cubicBezTo>
                  <a:cubicBezTo>
                    <a:pt x="153" y="12"/>
                    <a:pt x="151" y="12"/>
                    <a:pt x="149" y="12"/>
                  </a:cubicBezTo>
                  <a:cubicBezTo>
                    <a:pt x="147" y="12"/>
                    <a:pt x="145" y="12"/>
                    <a:pt x="144" y="13"/>
                  </a:cubicBezTo>
                  <a:cubicBezTo>
                    <a:pt x="142" y="14"/>
                    <a:pt x="141" y="14"/>
                    <a:pt x="139" y="16"/>
                  </a:cubicBezTo>
                  <a:cubicBezTo>
                    <a:pt x="138" y="17"/>
                    <a:pt x="137" y="18"/>
                    <a:pt x="136" y="19"/>
                  </a:cubicBezTo>
                  <a:cubicBezTo>
                    <a:pt x="135" y="21"/>
                    <a:pt x="134" y="22"/>
                    <a:pt x="134" y="24"/>
                  </a:cubicBezTo>
                  <a:cubicBezTo>
                    <a:pt x="133" y="26"/>
                    <a:pt x="133" y="27"/>
                    <a:pt x="133" y="29"/>
                  </a:cubicBezTo>
                  <a:cubicBezTo>
                    <a:pt x="133" y="31"/>
                    <a:pt x="133" y="33"/>
                    <a:pt x="134" y="35"/>
                  </a:cubicBezTo>
                  <a:cubicBezTo>
                    <a:pt x="134" y="36"/>
                    <a:pt x="135" y="38"/>
                    <a:pt x="137" y="39"/>
                  </a:cubicBezTo>
                  <a:cubicBezTo>
                    <a:pt x="138" y="40"/>
                    <a:pt x="139" y="40"/>
                    <a:pt x="141" y="41"/>
                  </a:cubicBezTo>
                  <a:cubicBezTo>
                    <a:pt x="143" y="41"/>
                    <a:pt x="144" y="42"/>
                    <a:pt x="146" y="42"/>
                  </a:cubicBezTo>
                  <a:cubicBezTo>
                    <a:pt x="148" y="42"/>
                    <a:pt x="149" y="41"/>
                    <a:pt x="151" y="41"/>
                  </a:cubicBezTo>
                  <a:cubicBezTo>
                    <a:pt x="153" y="41"/>
                    <a:pt x="154" y="40"/>
                    <a:pt x="155" y="40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5" y="35"/>
                    <a:pt x="154" y="35"/>
                    <a:pt x="152" y="36"/>
                  </a:cubicBezTo>
                  <a:cubicBezTo>
                    <a:pt x="151" y="36"/>
                    <a:pt x="149" y="36"/>
                    <a:pt x="148" y="36"/>
                  </a:cubicBezTo>
                  <a:cubicBezTo>
                    <a:pt x="146" y="36"/>
                    <a:pt x="145" y="36"/>
                    <a:pt x="143" y="36"/>
                  </a:cubicBezTo>
                  <a:cubicBezTo>
                    <a:pt x="142" y="35"/>
                    <a:pt x="141" y="34"/>
                    <a:pt x="141" y="33"/>
                  </a:cubicBezTo>
                  <a:cubicBezTo>
                    <a:pt x="140" y="32"/>
                    <a:pt x="140" y="31"/>
                    <a:pt x="140" y="29"/>
                  </a:cubicBezTo>
                  <a:lnTo>
                    <a:pt x="160" y="29"/>
                  </a:lnTo>
                  <a:close/>
                  <a:moveTo>
                    <a:pt x="141" y="24"/>
                  </a:moveTo>
                  <a:cubicBezTo>
                    <a:pt x="141" y="23"/>
                    <a:pt x="142" y="22"/>
                    <a:pt x="143" y="21"/>
                  </a:cubicBezTo>
                  <a:cubicBezTo>
                    <a:pt x="143" y="20"/>
                    <a:pt x="144" y="19"/>
                    <a:pt x="145" y="18"/>
                  </a:cubicBezTo>
                  <a:cubicBezTo>
                    <a:pt x="146" y="18"/>
                    <a:pt x="147" y="17"/>
                    <a:pt x="149" y="17"/>
                  </a:cubicBezTo>
                  <a:cubicBezTo>
                    <a:pt x="150" y="17"/>
                    <a:pt x="151" y="18"/>
                    <a:pt x="152" y="19"/>
                  </a:cubicBezTo>
                  <a:cubicBezTo>
                    <a:pt x="153" y="19"/>
                    <a:pt x="153" y="21"/>
                    <a:pt x="153" y="22"/>
                  </a:cubicBezTo>
                  <a:cubicBezTo>
                    <a:pt x="153" y="22"/>
                    <a:pt x="153" y="23"/>
                    <a:pt x="153" y="23"/>
                  </a:cubicBezTo>
                  <a:cubicBezTo>
                    <a:pt x="153" y="23"/>
                    <a:pt x="153" y="24"/>
                    <a:pt x="153" y="24"/>
                  </a:cubicBezTo>
                  <a:lnTo>
                    <a:pt x="141" y="24"/>
                  </a:lnTo>
                  <a:close/>
                  <a:moveTo>
                    <a:pt x="188" y="13"/>
                  </a:moveTo>
                  <a:cubicBezTo>
                    <a:pt x="187" y="13"/>
                    <a:pt x="186" y="13"/>
                    <a:pt x="184" y="12"/>
                  </a:cubicBezTo>
                  <a:cubicBezTo>
                    <a:pt x="183" y="12"/>
                    <a:pt x="182" y="12"/>
                    <a:pt x="180" y="12"/>
                  </a:cubicBezTo>
                  <a:cubicBezTo>
                    <a:pt x="178" y="12"/>
                    <a:pt x="176" y="12"/>
                    <a:pt x="174" y="13"/>
                  </a:cubicBezTo>
                  <a:cubicBezTo>
                    <a:pt x="172" y="14"/>
                    <a:pt x="170" y="15"/>
                    <a:pt x="168" y="17"/>
                  </a:cubicBezTo>
                  <a:cubicBezTo>
                    <a:pt x="167" y="19"/>
                    <a:pt x="166" y="20"/>
                    <a:pt x="165" y="23"/>
                  </a:cubicBezTo>
                  <a:cubicBezTo>
                    <a:pt x="164" y="25"/>
                    <a:pt x="164" y="27"/>
                    <a:pt x="164" y="29"/>
                  </a:cubicBezTo>
                  <a:cubicBezTo>
                    <a:pt x="164" y="32"/>
                    <a:pt x="164" y="34"/>
                    <a:pt x="165" y="36"/>
                  </a:cubicBezTo>
                  <a:cubicBezTo>
                    <a:pt x="166" y="38"/>
                    <a:pt x="168" y="39"/>
                    <a:pt x="169" y="40"/>
                  </a:cubicBezTo>
                  <a:cubicBezTo>
                    <a:pt x="171" y="41"/>
                    <a:pt x="173" y="42"/>
                    <a:pt x="176" y="42"/>
                  </a:cubicBezTo>
                  <a:cubicBezTo>
                    <a:pt x="177" y="42"/>
                    <a:pt x="178" y="41"/>
                    <a:pt x="179" y="41"/>
                  </a:cubicBezTo>
                  <a:cubicBezTo>
                    <a:pt x="181" y="41"/>
                    <a:pt x="182" y="41"/>
                    <a:pt x="183" y="40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83" y="35"/>
                    <a:pt x="182" y="35"/>
                    <a:pt x="182" y="35"/>
                  </a:cubicBezTo>
                  <a:cubicBezTo>
                    <a:pt x="181" y="35"/>
                    <a:pt x="180" y="36"/>
                    <a:pt x="180" y="36"/>
                  </a:cubicBezTo>
                  <a:cubicBezTo>
                    <a:pt x="179" y="36"/>
                    <a:pt x="178" y="36"/>
                    <a:pt x="178" y="36"/>
                  </a:cubicBezTo>
                  <a:cubicBezTo>
                    <a:pt x="176" y="36"/>
                    <a:pt x="175" y="36"/>
                    <a:pt x="175" y="35"/>
                  </a:cubicBezTo>
                  <a:cubicBezTo>
                    <a:pt x="174" y="35"/>
                    <a:pt x="173" y="34"/>
                    <a:pt x="173" y="34"/>
                  </a:cubicBezTo>
                  <a:cubicBezTo>
                    <a:pt x="172" y="33"/>
                    <a:pt x="172" y="32"/>
                    <a:pt x="172" y="31"/>
                  </a:cubicBezTo>
                  <a:cubicBezTo>
                    <a:pt x="172" y="30"/>
                    <a:pt x="171" y="29"/>
                    <a:pt x="171" y="29"/>
                  </a:cubicBezTo>
                  <a:cubicBezTo>
                    <a:pt x="171" y="27"/>
                    <a:pt x="172" y="26"/>
                    <a:pt x="172" y="25"/>
                  </a:cubicBezTo>
                  <a:cubicBezTo>
                    <a:pt x="172" y="23"/>
                    <a:pt x="173" y="22"/>
                    <a:pt x="174" y="21"/>
                  </a:cubicBezTo>
                  <a:cubicBezTo>
                    <a:pt x="175" y="20"/>
                    <a:pt x="176" y="19"/>
                    <a:pt x="177" y="19"/>
                  </a:cubicBezTo>
                  <a:cubicBezTo>
                    <a:pt x="178" y="18"/>
                    <a:pt x="179" y="18"/>
                    <a:pt x="181" y="18"/>
                  </a:cubicBezTo>
                  <a:cubicBezTo>
                    <a:pt x="182" y="18"/>
                    <a:pt x="183" y="18"/>
                    <a:pt x="184" y="18"/>
                  </a:cubicBezTo>
                  <a:cubicBezTo>
                    <a:pt x="184" y="18"/>
                    <a:pt x="185" y="19"/>
                    <a:pt x="186" y="19"/>
                  </a:cubicBezTo>
                  <a:lnTo>
                    <a:pt x="188" y="13"/>
                  </a:lnTo>
                  <a:close/>
                  <a:moveTo>
                    <a:pt x="187" y="41"/>
                  </a:moveTo>
                  <a:cubicBezTo>
                    <a:pt x="194" y="41"/>
                    <a:pt x="194" y="41"/>
                    <a:pt x="194" y="41"/>
                  </a:cubicBezTo>
                  <a:cubicBezTo>
                    <a:pt x="197" y="27"/>
                    <a:pt x="197" y="27"/>
                    <a:pt x="197" y="27"/>
                  </a:cubicBezTo>
                  <a:cubicBezTo>
                    <a:pt x="198" y="26"/>
                    <a:pt x="198" y="25"/>
                    <a:pt x="198" y="24"/>
                  </a:cubicBezTo>
                  <a:cubicBezTo>
                    <a:pt x="199" y="22"/>
                    <a:pt x="199" y="22"/>
                    <a:pt x="200" y="21"/>
                  </a:cubicBezTo>
                  <a:cubicBezTo>
                    <a:pt x="200" y="20"/>
                    <a:pt x="201" y="19"/>
                    <a:pt x="202" y="19"/>
                  </a:cubicBezTo>
                  <a:cubicBezTo>
                    <a:pt x="203" y="18"/>
                    <a:pt x="204" y="18"/>
                    <a:pt x="205" y="18"/>
                  </a:cubicBezTo>
                  <a:cubicBezTo>
                    <a:pt x="206" y="18"/>
                    <a:pt x="207" y="18"/>
                    <a:pt x="207" y="18"/>
                  </a:cubicBezTo>
                  <a:cubicBezTo>
                    <a:pt x="208" y="19"/>
                    <a:pt x="208" y="19"/>
                    <a:pt x="209" y="20"/>
                  </a:cubicBezTo>
                  <a:cubicBezTo>
                    <a:pt x="209" y="20"/>
                    <a:pt x="209" y="21"/>
                    <a:pt x="209" y="22"/>
                  </a:cubicBezTo>
                  <a:cubicBezTo>
                    <a:pt x="209" y="23"/>
                    <a:pt x="209" y="24"/>
                    <a:pt x="209" y="25"/>
                  </a:cubicBezTo>
                  <a:cubicBezTo>
                    <a:pt x="209" y="26"/>
                    <a:pt x="209" y="27"/>
                    <a:pt x="208" y="28"/>
                  </a:cubicBezTo>
                  <a:cubicBezTo>
                    <a:pt x="206" y="41"/>
                    <a:pt x="206" y="41"/>
                    <a:pt x="206" y="41"/>
                  </a:cubicBezTo>
                  <a:cubicBezTo>
                    <a:pt x="213" y="41"/>
                    <a:pt x="213" y="41"/>
                    <a:pt x="213" y="41"/>
                  </a:cubicBezTo>
                  <a:cubicBezTo>
                    <a:pt x="216" y="27"/>
                    <a:pt x="216" y="27"/>
                    <a:pt x="216" y="27"/>
                  </a:cubicBezTo>
                  <a:cubicBezTo>
                    <a:pt x="216" y="26"/>
                    <a:pt x="216" y="25"/>
                    <a:pt x="217" y="24"/>
                  </a:cubicBezTo>
                  <a:cubicBezTo>
                    <a:pt x="217" y="23"/>
                    <a:pt x="217" y="22"/>
                    <a:pt x="217" y="21"/>
                  </a:cubicBezTo>
                  <a:cubicBezTo>
                    <a:pt x="217" y="19"/>
                    <a:pt x="217" y="18"/>
                    <a:pt x="216" y="16"/>
                  </a:cubicBezTo>
                  <a:cubicBezTo>
                    <a:pt x="215" y="15"/>
                    <a:pt x="214" y="14"/>
                    <a:pt x="213" y="13"/>
                  </a:cubicBezTo>
                  <a:cubicBezTo>
                    <a:pt x="211" y="12"/>
                    <a:pt x="210" y="12"/>
                    <a:pt x="208" y="12"/>
                  </a:cubicBezTo>
                  <a:cubicBezTo>
                    <a:pt x="207" y="12"/>
                    <a:pt x="206" y="12"/>
                    <a:pt x="205" y="13"/>
                  </a:cubicBezTo>
                  <a:cubicBezTo>
                    <a:pt x="204" y="13"/>
                    <a:pt x="203" y="13"/>
                    <a:pt x="202" y="14"/>
                  </a:cubicBezTo>
                  <a:cubicBezTo>
                    <a:pt x="201" y="14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96" y="0"/>
                    <a:pt x="196" y="0"/>
                    <a:pt x="196" y="0"/>
                  </a:cubicBezTo>
                  <a:lnTo>
                    <a:pt x="187" y="41"/>
                  </a:lnTo>
                  <a:close/>
                  <a:moveTo>
                    <a:pt x="221" y="41"/>
                  </a:moveTo>
                  <a:cubicBezTo>
                    <a:pt x="228" y="41"/>
                    <a:pt x="228" y="41"/>
                    <a:pt x="228" y="41"/>
                  </a:cubicBezTo>
                  <a:cubicBezTo>
                    <a:pt x="231" y="27"/>
                    <a:pt x="231" y="27"/>
                    <a:pt x="231" y="27"/>
                  </a:cubicBezTo>
                  <a:cubicBezTo>
                    <a:pt x="231" y="26"/>
                    <a:pt x="231" y="25"/>
                    <a:pt x="232" y="24"/>
                  </a:cubicBezTo>
                  <a:cubicBezTo>
                    <a:pt x="232" y="22"/>
                    <a:pt x="233" y="22"/>
                    <a:pt x="233" y="21"/>
                  </a:cubicBezTo>
                  <a:cubicBezTo>
                    <a:pt x="234" y="20"/>
                    <a:pt x="235" y="19"/>
                    <a:pt x="236" y="19"/>
                  </a:cubicBezTo>
                  <a:cubicBezTo>
                    <a:pt x="236" y="18"/>
                    <a:pt x="237" y="18"/>
                    <a:pt x="239" y="18"/>
                  </a:cubicBezTo>
                  <a:cubicBezTo>
                    <a:pt x="240" y="18"/>
                    <a:pt x="240" y="18"/>
                    <a:pt x="241" y="18"/>
                  </a:cubicBezTo>
                  <a:cubicBezTo>
                    <a:pt x="241" y="19"/>
                    <a:pt x="242" y="19"/>
                    <a:pt x="242" y="20"/>
                  </a:cubicBezTo>
                  <a:cubicBezTo>
                    <a:pt x="243" y="20"/>
                    <a:pt x="243" y="21"/>
                    <a:pt x="243" y="22"/>
                  </a:cubicBezTo>
                  <a:cubicBezTo>
                    <a:pt x="243" y="23"/>
                    <a:pt x="243" y="24"/>
                    <a:pt x="242" y="25"/>
                  </a:cubicBezTo>
                  <a:cubicBezTo>
                    <a:pt x="242" y="26"/>
                    <a:pt x="242" y="27"/>
                    <a:pt x="242" y="28"/>
                  </a:cubicBezTo>
                  <a:cubicBezTo>
                    <a:pt x="239" y="41"/>
                    <a:pt x="239" y="41"/>
                    <a:pt x="239" y="41"/>
                  </a:cubicBezTo>
                  <a:cubicBezTo>
                    <a:pt x="247" y="41"/>
                    <a:pt x="247" y="41"/>
                    <a:pt x="247" y="41"/>
                  </a:cubicBezTo>
                  <a:cubicBezTo>
                    <a:pt x="249" y="27"/>
                    <a:pt x="249" y="27"/>
                    <a:pt x="249" y="27"/>
                  </a:cubicBezTo>
                  <a:cubicBezTo>
                    <a:pt x="250" y="26"/>
                    <a:pt x="250" y="25"/>
                    <a:pt x="250" y="24"/>
                  </a:cubicBezTo>
                  <a:cubicBezTo>
                    <a:pt x="250" y="23"/>
                    <a:pt x="250" y="22"/>
                    <a:pt x="250" y="21"/>
                  </a:cubicBezTo>
                  <a:cubicBezTo>
                    <a:pt x="250" y="19"/>
                    <a:pt x="250" y="18"/>
                    <a:pt x="249" y="16"/>
                  </a:cubicBezTo>
                  <a:cubicBezTo>
                    <a:pt x="249" y="15"/>
                    <a:pt x="247" y="14"/>
                    <a:pt x="246" y="13"/>
                  </a:cubicBezTo>
                  <a:cubicBezTo>
                    <a:pt x="245" y="12"/>
                    <a:pt x="243" y="12"/>
                    <a:pt x="241" y="12"/>
                  </a:cubicBezTo>
                  <a:cubicBezTo>
                    <a:pt x="240" y="12"/>
                    <a:pt x="239" y="12"/>
                    <a:pt x="238" y="13"/>
                  </a:cubicBezTo>
                  <a:cubicBezTo>
                    <a:pt x="237" y="13"/>
                    <a:pt x="236" y="13"/>
                    <a:pt x="235" y="14"/>
                  </a:cubicBezTo>
                  <a:cubicBezTo>
                    <a:pt x="235" y="14"/>
                    <a:pt x="234" y="15"/>
                    <a:pt x="233" y="15"/>
                  </a:cubicBezTo>
                  <a:cubicBezTo>
                    <a:pt x="233" y="15"/>
                    <a:pt x="233" y="15"/>
                    <a:pt x="233" y="15"/>
                  </a:cubicBezTo>
                  <a:cubicBezTo>
                    <a:pt x="234" y="13"/>
                    <a:pt x="234" y="13"/>
                    <a:pt x="234" y="13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26" y="13"/>
                    <a:pt x="226" y="14"/>
                    <a:pt x="226" y="14"/>
                  </a:cubicBezTo>
                  <a:cubicBezTo>
                    <a:pt x="226" y="15"/>
                    <a:pt x="226" y="16"/>
                    <a:pt x="226" y="17"/>
                  </a:cubicBezTo>
                  <a:lnTo>
                    <a:pt x="221" y="41"/>
                  </a:lnTo>
                  <a:close/>
                  <a:moveTo>
                    <a:pt x="269" y="36"/>
                  </a:moveTo>
                  <a:cubicBezTo>
                    <a:pt x="267" y="36"/>
                    <a:pt x="266" y="36"/>
                    <a:pt x="265" y="35"/>
                  </a:cubicBezTo>
                  <a:cubicBezTo>
                    <a:pt x="264" y="34"/>
                    <a:pt x="264" y="34"/>
                    <a:pt x="263" y="33"/>
                  </a:cubicBezTo>
                  <a:cubicBezTo>
                    <a:pt x="263" y="32"/>
                    <a:pt x="263" y="30"/>
                    <a:pt x="263" y="29"/>
                  </a:cubicBezTo>
                  <a:cubicBezTo>
                    <a:pt x="263" y="28"/>
                    <a:pt x="263" y="27"/>
                    <a:pt x="263" y="26"/>
                  </a:cubicBezTo>
                  <a:cubicBezTo>
                    <a:pt x="263" y="25"/>
                    <a:pt x="264" y="24"/>
                    <a:pt x="264" y="23"/>
                  </a:cubicBezTo>
                  <a:cubicBezTo>
                    <a:pt x="265" y="22"/>
                    <a:pt x="265" y="21"/>
                    <a:pt x="266" y="20"/>
                  </a:cubicBezTo>
                  <a:cubicBezTo>
                    <a:pt x="267" y="20"/>
                    <a:pt x="267" y="19"/>
                    <a:pt x="268" y="18"/>
                  </a:cubicBezTo>
                  <a:cubicBezTo>
                    <a:pt x="269" y="18"/>
                    <a:pt x="270" y="18"/>
                    <a:pt x="271" y="18"/>
                  </a:cubicBezTo>
                  <a:cubicBezTo>
                    <a:pt x="273" y="18"/>
                    <a:pt x="273" y="18"/>
                    <a:pt x="274" y="18"/>
                  </a:cubicBezTo>
                  <a:cubicBezTo>
                    <a:pt x="275" y="19"/>
                    <a:pt x="275" y="19"/>
                    <a:pt x="276" y="20"/>
                  </a:cubicBezTo>
                  <a:cubicBezTo>
                    <a:pt x="276" y="20"/>
                    <a:pt x="277" y="21"/>
                    <a:pt x="277" y="22"/>
                  </a:cubicBezTo>
                  <a:cubicBezTo>
                    <a:pt x="277" y="23"/>
                    <a:pt x="277" y="24"/>
                    <a:pt x="277" y="24"/>
                  </a:cubicBezTo>
                  <a:cubicBezTo>
                    <a:pt x="277" y="25"/>
                    <a:pt x="277" y="26"/>
                    <a:pt x="277" y="28"/>
                  </a:cubicBezTo>
                  <a:cubicBezTo>
                    <a:pt x="277" y="29"/>
                    <a:pt x="276" y="30"/>
                    <a:pt x="276" y="31"/>
                  </a:cubicBezTo>
                  <a:cubicBezTo>
                    <a:pt x="275" y="32"/>
                    <a:pt x="275" y="32"/>
                    <a:pt x="274" y="33"/>
                  </a:cubicBezTo>
                  <a:cubicBezTo>
                    <a:pt x="273" y="34"/>
                    <a:pt x="273" y="35"/>
                    <a:pt x="272" y="35"/>
                  </a:cubicBezTo>
                  <a:cubicBezTo>
                    <a:pt x="271" y="36"/>
                    <a:pt x="270" y="36"/>
                    <a:pt x="269" y="36"/>
                  </a:cubicBezTo>
                  <a:moveTo>
                    <a:pt x="272" y="12"/>
                  </a:moveTo>
                  <a:cubicBezTo>
                    <a:pt x="269" y="12"/>
                    <a:pt x="267" y="12"/>
                    <a:pt x="265" y="13"/>
                  </a:cubicBezTo>
                  <a:cubicBezTo>
                    <a:pt x="263" y="14"/>
                    <a:pt x="261" y="15"/>
                    <a:pt x="260" y="17"/>
                  </a:cubicBezTo>
                  <a:cubicBezTo>
                    <a:pt x="258" y="18"/>
                    <a:pt x="257" y="20"/>
                    <a:pt x="256" y="22"/>
                  </a:cubicBezTo>
                  <a:cubicBezTo>
                    <a:pt x="256" y="24"/>
                    <a:pt x="255" y="26"/>
                    <a:pt x="255" y="29"/>
                  </a:cubicBezTo>
                  <a:cubicBezTo>
                    <a:pt x="255" y="31"/>
                    <a:pt x="256" y="34"/>
                    <a:pt x="257" y="36"/>
                  </a:cubicBezTo>
                  <a:cubicBezTo>
                    <a:pt x="258" y="37"/>
                    <a:pt x="259" y="39"/>
                    <a:pt x="261" y="40"/>
                  </a:cubicBezTo>
                  <a:cubicBezTo>
                    <a:pt x="263" y="41"/>
                    <a:pt x="265" y="42"/>
                    <a:pt x="268" y="42"/>
                  </a:cubicBezTo>
                  <a:cubicBezTo>
                    <a:pt x="270" y="42"/>
                    <a:pt x="273" y="41"/>
                    <a:pt x="275" y="40"/>
                  </a:cubicBezTo>
                  <a:cubicBezTo>
                    <a:pt x="277" y="39"/>
                    <a:pt x="279" y="38"/>
                    <a:pt x="280" y="37"/>
                  </a:cubicBezTo>
                  <a:cubicBezTo>
                    <a:pt x="282" y="35"/>
                    <a:pt x="283" y="33"/>
                    <a:pt x="284" y="31"/>
                  </a:cubicBezTo>
                  <a:cubicBezTo>
                    <a:pt x="284" y="29"/>
                    <a:pt x="285" y="27"/>
                    <a:pt x="285" y="24"/>
                  </a:cubicBezTo>
                  <a:cubicBezTo>
                    <a:pt x="285" y="22"/>
                    <a:pt x="284" y="21"/>
                    <a:pt x="284" y="19"/>
                  </a:cubicBezTo>
                  <a:cubicBezTo>
                    <a:pt x="283" y="18"/>
                    <a:pt x="282" y="16"/>
                    <a:pt x="281" y="15"/>
                  </a:cubicBezTo>
                  <a:cubicBezTo>
                    <a:pt x="280" y="14"/>
                    <a:pt x="279" y="13"/>
                    <a:pt x="277" y="13"/>
                  </a:cubicBezTo>
                  <a:cubicBezTo>
                    <a:pt x="275" y="12"/>
                    <a:pt x="274" y="12"/>
                    <a:pt x="272" y="12"/>
                  </a:cubicBezTo>
                  <a:moveTo>
                    <a:pt x="287" y="41"/>
                  </a:moveTo>
                  <a:cubicBezTo>
                    <a:pt x="295" y="41"/>
                    <a:pt x="295" y="41"/>
                    <a:pt x="295" y="4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6" y="0"/>
                    <a:pt x="296" y="0"/>
                    <a:pt x="296" y="0"/>
                  </a:cubicBezTo>
                  <a:lnTo>
                    <a:pt x="287" y="41"/>
                  </a:lnTo>
                  <a:close/>
                  <a:moveTo>
                    <a:pt x="317" y="36"/>
                  </a:moveTo>
                  <a:cubicBezTo>
                    <a:pt x="316" y="36"/>
                    <a:pt x="315" y="36"/>
                    <a:pt x="314" y="35"/>
                  </a:cubicBezTo>
                  <a:cubicBezTo>
                    <a:pt x="313" y="34"/>
                    <a:pt x="312" y="34"/>
                    <a:pt x="312" y="33"/>
                  </a:cubicBezTo>
                  <a:cubicBezTo>
                    <a:pt x="312" y="32"/>
                    <a:pt x="311" y="30"/>
                    <a:pt x="311" y="29"/>
                  </a:cubicBezTo>
                  <a:cubicBezTo>
                    <a:pt x="311" y="28"/>
                    <a:pt x="312" y="27"/>
                    <a:pt x="312" y="26"/>
                  </a:cubicBezTo>
                  <a:cubicBezTo>
                    <a:pt x="312" y="25"/>
                    <a:pt x="312" y="24"/>
                    <a:pt x="313" y="23"/>
                  </a:cubicBezTo>
                  <a:cubicBezTo>
                    <a:pt x="313" y="22"/>
                    <a:pt x="314" y="21"/>
                    <a:pt x="315" y="20"/>
                  </a:cubicBezTo>
                  <a:cubicBezTo>
                    <a:pt x="315" y="20"/>
                    <a:pt x="316" y="19"/>
                    <a:pt x="317" y="18"/>
                  </a:cubicBezTo>
                  <a:cubicBezTo>
                    <a:pt x="318" y="18"/>
                    <a:pt x="319" y="18"/>
                    <a:pt x="320" y="18"/>
                  </a:cubicBezTo>
                  <a:cubicBezTo>
                    <a:pt x="321" y="18"/>
                    <a:pt x="322" y="18"/>
                    <a:pt x="323" y="18"/>
                  </a:cubicBezTo>
                  <a:cubicBezTo>
                    <a:pt x="324" y="19"/>
                    <a:pt x="324" y="19"/>
                    <a:pt x="325" y="20"/>
                  </a:cubicBezTo>
                  <a:cubicBezTo>
                    <a:pt x="325" y="20"/>
                    <a:pt x="325" y="21"/>
                    <a:pt x="326" y="22"/>
                  </a:cubicBezTo>
                  <a:cubicBezTo>
                    <a:pt x="326" y="23"/>
                    <a:pt x="326" y="24"/>
                    <a:pt x="326" y="24"/>
                  </a:cubicBezTo>
                  <a:cubicBezTo>
                    <a:pt x="326" y="25"/>
                    <a:pt x="326" y="26"/>
                    <a:pt x="325" y="28"/>
                  </a:cubicBezTo>
                  <a:cubicBezTo>
                    <a:pt x="325" y="29"/>
                    <a:pt x="325" y="30"/>
                    <a:pt x="324" y="31"/>
                  </a:cubicBezTo>
                  <a:cubicBezTo>
                    <a:pt x="324" y="32"/>
                    <a:pt x="323" y="32"/>
                    <a:pt x="323" y="33"/>
                  </a:cubicBezTo>
                  <a:cubicBezTo>
                    <a:pt x="322" y="34"/>
                    <a:pt x="321" y="35"/>
                    <a:pt x="320" y="35"/>
                  </a:cubicBezTo>
                  <a:cubicBezTo>
                    <a:pt x="319" y="36"/>
                    <a:pt x="318" y="36"/>
                    <a:pt x="317" y="36"/>
                  </a:cubicBezTo>
                  <a:moveTo>
                    <a:pt x="321" y="12"/>
                  </a:moveTo>
                  <a:cubicBezTo>
                    <a:pt x="318" y="12"/>
                    <a:pt x="316" y="12"/>
                    <a:pt x="314" y="13"/>
                  </a:cubicBezTo>
                  <a:cubicBezTo>
                    <a:pt x="312" y="14"/>
                    <a:pt x="310" y="15"/>
                    <a:pt x="309" y="17"/>
                  </a:cubicBezTo>
                  <a:cubicBezTo>
                    <a:pt x="307" y="18"/>
                    <a:pt x="306" y="20"/>
                    <a:pt x="305" y="22"/>
                  </a:cubicBezTo>
                  <a:cubicBezTo>
                    <a:pt x="304" y="24"/>
                    <a:pt x="304" y="26"/>
                    <a:pt x="304" y="29"/>
                  </a:cubicBezTo>
                  <a:cubicBezTo>
                    <a:pt x="304" y="31"/>
                    <a:pt x="304" y="34"/>
                    <a:pt x="305" y="36"/>
                  </a:cubicBezTo>
                  <a:cubicBezTo>
                    <a:pt x="306" y="37"/>
                    <a:pt x="308" y="39"/>
                    <a:pt x="310" y="40"/>
                  </a:cubicBezTo>
                  <a:cubicBezTo>
                    <a:pt x="312" y="41"/>
                    <a:pt x="314" y="42"/>
                    <a:pt x="317" y="42"/>
                  </a:cubicBezTo>
                  <a:cubicBezTo>
                    <a:pt x="319" y="42"/>
                    <a:pt x="321" y="41"/>
                    <a:pt x="323" y="40"/>
                  </a:cubicBezTo>
                  <a:cubicBezTo>
                    <a:pt x="326" y="39"/>
                    <a:pt x="327" y="38"/>
                    <a:pt x="329" y="37"/>
                  </a:cubicBezTo>
                  <a:cubicBezTo>
                    <a:pt x="330" y="35"/>
                    <a:pt x="331" y="33"/>
                    <a:pt x="332" y="31"/>
                  </a:cubicBezTo>
                  <a:cubicBezTo>
                    <a:pt x="333" y="29"/>
                    <a:pt x="333" y="27"/>
                    <a:pt x="333" y="24"/>
                  </a:cubicBezTo>
                  <a:cubicBezTo>
                    <a:pt x="333" y="22"/>
                    <a:pt x="333" y="21"/>
                    <a:pt x="332" y="19"/>
                  </a:cubicBezTo>
                  <a:cubicBezTo>
                    <a:pt x="332" y="18"/>
                    <a:pt x="331" y="16"/>
                    <a:pt x="330" y="15"/>
                  </a:cubicBezTo>
                  <a:cubicBezTo>
                    <a:pt x="329" y="14"/>
                    <a:pt x="327" y="13"/>
                    <a:pt x="326" y="13"/>
                  </a:cubicBezTo>
                  <a:cubicBezTo>
                    <a:pt x="324" y="12"/>
                    <a:pt x="322" y="12"/>
                    <a:pt x="321" y="12"/>
                  </a:cubicBezTo>
                  <a:moveTo>
                    <a:pt x="335" y="51"/>
                  </a:moveTo>
                  <a:cubicBezTo>
                    <a:pt x="337" y="52"/>
                    <a:pt x="339" y="52"/>
                    <a:pt x="341" y="53"/>
                  </a:cubicBezTo>
                  <a:cubicBezTo>
                    <a:pt x="343" y="53"/>
                    <a:pt x="345" y="53"/>
                    <a:pt x="347" y="53"/>
                  </a:cubicBezTo>
                  <a:cubicBezTo>
                    <a:pt x="349" y="53"/>
                    <a:pt x="351" y="53"/>
                    <a:pt x="353" y="52"/>
                  </a:cubicBezTo>
                  <a:cubicBezTo>
                    <a:pt x="355" y="51"/>
                    <a:pt x="357" y="50"/>
                    <a:pt x="358" y="49"/>
                  </a:cubicBezTo>
                  <a:cubicBezTo>
                    <a:pt x="359" y="48"/>
                    <a:pt x="360" y="46"/>
                    <a:pt x="361" y="44"/>
                  </a:cubicBezTo>
                  <a:cubicBezTo>
                    <a:pt x="362" y="42"/>
                    <a:pt x="362" y="40"/>
                    <a:pt x="363" y="38"/>
                  </a:cubicBezTo>
                  <a:cubicBezTo>
                    <a:pt x="367" y="17"/>
                    <a:pt x="367" y="17"/>
                    <a:pt x="367" y="17"/>
                  </a:cubicBezTo>
                  <a:cubicBezTo>
                    <a:pt x="367" y="16"/>
                    <a:pt x="368" y="15"/>
                    <a:pt x="368" y="14"/>
                  </a:cubicBezTo>
                  <a:cubicBezTo>
                    <a:pt x="368" y="14"/>
                    <a:pt x="368" y="13"/>
                    <a:pt x="368" y="13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0" y="17"/>
                    <a:pt x="360" y="17"/>
                    <a:pt x="360" y="17"/>
                  </a:cubicBezTo>
                  <a:cubicBezTo>
                    <a:pt x="360" y="16"/>
                    <a:pt x="359" y="15"/>
                    <a:pt x="358" y="14"/>
                  </a:cubicBezTo>
                  <a:cubicBezTo>
                    <a:pt x="357" y="14"/>
                    <a:pt x="356" y="13"/>
                    <a:pt x="355" y="13"/>
                  </a:cubicBezTo>
                  <a:cubicBezTo>
                    <a:pt x="354" y="12"/>
                    <a:pt x="353" y="12"/>
                    <a:pt x="352" y="12"/>
                  </a:cubicBezTo>
                  <a:cubicBezTo>
                    <a:pt x="350" y="12"/>
                    <a:pt x="348" y="12"/>
                    <a:pt x="347" y="13"/>
                  </a:cubicBezTo>
                  <a:cubicBezTo>
                    <a:pt x="345" y="14"/>
                    <a:pt x="344" y="14"/>
                    <a:pt x="343" y="16"/>
                  </a:cubicBezTo>
                  <a:cubicBezTo>
                    <a:pt x="341" y="17"/>
                    <a:pt x="341" y="18"/>
                    <a:pt x="340" y="19"/>
                  </a:cubicBezTo>
                  <a:cubicBezTo>
                    <a:pt x="339" y="21"/>
                    <a:pt x="338" y="22"/>
                    <a:pt x="338" y="24"/>
                  </a:cubicBezTo>
                  <a:cubicBezTo>
                    <a:pt x="338" y="26"/>
                    <a:pt x="337" y="27"/>
                    <a:pt x="337" y="29"/>
                  </a:cubicBezTo>
                  <a:cubicBezTo>
                    <a:pt x="337" y="31"/>
                    <a:pt x="338" y="32"/>
                    <a:pt x="338" y="33"/>
                  </a:cubicBezTo>
                  <a:cubicBezTo>
                    <a:pt x="338" y="35"/>
                    <a:pt x="339" y="36"/>
                    <a:pt x="340" y="37"/>
                  </a:cubicBezTo>
                  <a:cubicBezTo>
                    <a:pt x="340" y="38"/>
                    <a:pt x="341" y="39"/>
                    <a:pt x="343" y="40"/>
                  </a:cubicBezTo>
                  <a:cubicBezTo>
                    <a:pt x="344" y="41"/>
                    <a:pt x="345" y="41"/>
                    <a:pt x="347" y="41"/>
                  </a:cubicBezTo>
                  <a:cubicBezTo>
                    <a:pt x="349" y="41"/>
                    <a:pt x="350" y="41"/>
                    <a:pt x="351" y="40"/>
                  </a:cubicBezTo>
                  <a:cubicBezTo>
                    <a:pt x="352" y="40"/>
                    <a:pt x="353" y="39"/>
                    <a:pt x="354" y="38"/>
                  </a:cubicBezTo>
                  <a:cubicBezTo>
                    <a:pt x="355" y="38"/>
                    <a:pt x="356" y="37"/>
                    <a:pt x="357" y="36"/>
                  </a:cubicBezTo>
                  <a:cubicBezTo>
                    <a:pt x="357" y="36"/>
                    <a:pt x="357" y="36"/>
                    <a:pt x="357" y="36"/>
                  </a:cubicBezTo>
                  <a:cubicBezTo>
                    <a:pt x="356" y="37"/>
                    <a:pt x="356" y="38"/>
                    <a:pt x="356" y="39"/>
                  </a:cubicBezTo>
                  <a:cubicBezTo>
                    <a:pt x="355" y="40"/>
                    <a:pt x="355" y="41"/>
                    <a:pt x="354" y="42"/>
                  </a:cubicBezTo>
                  <a:cubicBezTo>
                    <a:pt x="354" y="43"/>
                    <a:pt x="353" y="44"/>
                    <a:pt x="353" y="45"/>
                  </a:cubicBezTo>
                  <a:cubicBezTo>
                    <a:pt x="352" y="46"/>
                    <a:pt x="351" y="46"/>
                    <a:pt x="350" y="47"/>
                  </a:cubicBezTo>
                  <a:cubicBezTo>
                    <a:pt x="349" y="47"/>
                    <a:pt x="348" y="47"/>
                    <a:pt x="346" y="47"/>
                  </a:cubicBezTo>
                  <a:cubicBezTo>
                    <a:pt x="345" y="47"/>
                    <a:pt x="344" y="47"/>
                    <a:pt x="343" y="47"/>
                  </a:cubicBezTo>
                  <a:cubicBezTo>
                    <a:pt x="342" y="47"/>
                    <a:pt x="341" y="47"/>
                    <a:pt x="340" y="46"/>
                  </a:cubicBezTo>
                  <a:cubicBezTo>
                    <a:pt x="339" y="46"/>
                    <a:pt x="338" y="46"/>
                    <a:pt x="337" y="45"/>
                  </a:cubicBezTo>
                  <a:lnTo>
                    <a:pt x="335" y="51"/>
                  </a:lnTo>
                  <a:close/>
                  <a:moveTo>
                    <a:pt x="358" y="24"/>
                  </a:moveTo>
                  <a:cubicBezTo>
                    <a:pt x="358" y="25"/>
                    <a:pt x="358" y="26"/>
                    <a:pt x="358" y="27"/>
                  </a:cubicBezTo>
                  <a:cubicBezTo>
                    <a:pt x="357" y="28"/>
                    <a:pt x="357" y="29"/>
                    <a:pt x="357" y="30"/>
                  </a:cubicBezTo>
                  <a:cubicBezTo>
                    <a:pt x="356" y="31"/>
                    <a:pt x="356" y="32"/>
                    <a:pt x="355" y="33"/>
                  </a:cubicBezTo>
                  <a:cubicBezTo>
                    <a:pt x="354" y="33"/>
                    <a:pt x="354" y="34"/>
                    <a:pt x="353" y="35"/>
                  </a:cubicBezTo>
                  <a:cubicBezTo>
                    <a:pt x="352" y="35"/>
                    <a:pt x="351" y="35"/>
                    <a:pt x="350" y="35"/>
                  </a:cubicBezTo>
                  <a:cubicBezTo>
                    <a:pt x="349" y="35"/>
                    <a:pt x="348" y="35"/>
                    <a:pt x="347" y="34"/>
                  </a:cubicBezTo>
                  <a:cubicBezTo>
                    <a:pt x="346" y="34"/>
                    <a:pt x="346" y="33"/>
                    <a:pt x="345" y="32"/>
                  </a:cubicBezTo>
                  <a:cubicBezTo>
                    <a:pt x="345" y="31"/>
                    <a:pt x="345" y="30"/>
                    <a:pt x="345" y="29"/>
                  </a:cubicBezTo>
                  <a:cubicBezTo>
                    <a:pt x="345" y="28"/>
                    <a:pt x="345" y="27"/>
                    <a:pt x="345" y="26"/>
                  </a:cubicBezTo>
                  <a:cubicBezTo>
                    <a:pt x="345" y="25"/>
                    <a:pt x="346" y="24"/>
                    <a:pt x="346" y="23"/>
                  </a:cubicBezTo>
                  <a:cubicBezTo>
                    <a:pt x="347" y="22"/>
                    <a:pt x="347" y="21"/>
                    <a:pt x="348" y="20"/>
                  </a:cubicBezTo>
                  <a:cubicBezTo>
                    <a:pt x="348" y="20"/>
                    <a:pt x="349" y="19"/>
                    <a:pt x="350" y="18"/>
                  </a:cubicBezTo>
                  <a:cubicBezTo>
                    <a:pt x="351" y="18"/>
                    <a:pt x="352" y="18"/>
                    <a:pt x="353" y="18"/>
                  </a:cubicBezTo>
                  <a:cubicBezTo>
                    <a:pt x="354" y="18"/>
                    <a:pt x="355" y="18"/>
                    <a:pt x="356" y="19"/>
                  </a:cubicBezTo>
                  <a:cubicBezTo>
                    <a:pt x="356" y="19"/>
                    <a:pt x="357" y="20"/>
                    <a:pt x="357" y="21"/>
                  </a:cubicBezTo>
                  <a:cubicBezTo>
                    <a:pt x="358" y="22"/>
                    <a:pt x="358" y="23"/>
                    <a:pt x="358" y="24"/>
                  </a:cubicBezTo>
                  <a:moveTo>
                    <a:pt x="372" y="13"/>
                  </a:moveTo>
                  <a:cubicBezTo>
                    <a:pt x="377" y="42"/>
                    <a:pt x="377" y="42"/>
                    <a:pt x="377" y="42"/>
                  </a:cubicBezTo>
                  <a:cubicBezTo>
                    <a:pt x="376" y="44"/>
                    <a:pt x="375" y="45"/>
                    <a:pt x="375" y="45"/>
                  </a:cubicBezTo>
                  <a:cubicBezTo>
                    <a:pt x="374" y="46"/>
                    <a:pt x="373" y="47"/>
                    <a:pt x="373" y="47"/>
                  </a:cubicBezTo>
                  <a:cubicBezTo>
                    <a:pt x="372" y="47"/>
                    <a:pt x="371" y="47"/>
                    <a:pt x="371" y="47"/>
                  </a:cubicBezTo>
                  <a:cubicBezTo>
                    <a:pt x="370" y="47"/>
                    <a:pt x="369" y="47"/>
                    <a:pt x="369" y="47"/>
                  </a:cubicBezTo>
                  <a:cubicBezTo>
                    <a:pt x="368" y="47"/>
                    <a:pt x="368" y="47"/>
                    <a:pt x="367" y="47"/>
                  </a:cubicBezTo>
                  <a:cubicBezTo>
                    <a:pt x="366" y="52"/>
                    <a:pt x="366" y="52"/>
                    <a:pt x="366" y="52"/>
                  </a:cubicBezTo>
                  <a:cubicBezTo>
                    <a:pt x="367" y="53"/>
                    <a:pt x="368" y="53"/>
                    <a:pt x="369" y="53"/>
                  </a:cubicBezTo>
                  <a:cubicBezTo>
                    <a:pt x="369" y="53"/>
                    <a:pt x="370" y="53"/>
                    <a:pt x="371" y="53"/>
                  </a:cubicBezTo>
                  <a:cubicBezTo>
                    <a:pt x="373" y="53"/>
                    <a:pt x="374" y="53"/>
                    <a:pt x="375" y="52"/>
                  </a:cubicBezTo>
                  <a:cubicBezTo>
                    <a:pt x="377" y="52"/>
                    <a:pt x="378" y="51"/>
                    <a:pt x="378" y="51"/>
                  </a:cubicBezTo>
                  <a:cubicBezTo>
                    <a:pt x="379" y="50"/>
                    <a:pt x="380" y="49"/>
                    <a:pt x="381" y="48"/>
                  </a:cubicBezTo>
                  <a:cubicBezTo>
                    <a:pt x="381" y="47"/>
                    <a:pt x="382" y="46"/>
                    <a:pt x="383" y="45"/>
                  </a:cubicBezTo>
                  <a:cubicBezTo>
                    <a:pt x="402" y="13"/>
                    <a:pt x="402" y="13"/>
                    <a:pt x="402" y="13"/>
                  </a:cubicBezTo>
                  <a:cubicBezTo>
                    <a:pt x="394" y="13"/>
                    <a:pt x="394" y="13"/>
                    <a:pt x="394" y="13"/>
                  </a:cubicBezTo>
                  <a:cubicBezTo>
                    <a:pt x="382" y="34"/>
                    <a:pt x="382" y="34"/>
                    <a:pt x="382" y="34"/>
                  </a:cubicBezTo>
                  <a:cubicBezTo>
                    <a:pt x="382" y="34"/>
                    <a:pt x="382" y="34"/>
                    <a:pt x="382" y="34"/>
                  </a:cubicBezTo>
                  <a:cubicBezTo>
                    <a:pt x="380" y="13"/>
                    <a:pt x="380" y="13"/>
                    <a:pt x="380" y="13"/>
                  </a:cubicBezTo>
                  <a:lnTo>
                    <a:pt x="372" y="13"/>
                  </a:lnTo>
                  <a:close/>
                  <a:moveTo>
                    <a:pt x="445" y="4"/>
                  </a:moveTo>
                  <a:cubicBezTo>
                    <a:pt x="443" y="3"/>
                    <a:pt x="441" y="3"/>
                    <a:pt x="440" y="2"/>
                  </a:cubicBezTo>
                  <a:cubicBezTo>
                    <a:pt x="438" y="2"/>
                    <a:pt x="436" y="2"/>
                    <a:pt x="435" y="2"/>
                  </a:cubicBezTo>
                  <a:cubicBezTo>
                    <a:pt x="433" y="2"/>
                    <a:pt x="432" y="2"/>
                    <a:pt x="430" y="2"/>
                  </a:cubicBezTo>
                  <a:cubicBezTo>
                    <a:pt x="429" y="3"/>
                    <a:pt x="428" y="3"/>
                    <a:pt x="426" y="4"/>
                  </a:cubicBezTo>
                  <a:cubicBezTo>
                    <a:pt x="425" y="4"/>
                    <a:pt x="424" y="5"/>
                    <a:pt x="423" y="6"/>
                  </a:cubicBezTo>
                  <a:cubicBezTo>
                    <a:pt x="422" y="7"/>
                    <a:pt x="422" y="8"/>
                    <a:pt x="421" y="9"/>
                  </a:cubicBezTo>
                  <a:cubicBezTo>
                    <a:pt x="421" y="11"/>
                    <a:pt x="420" y="12"/>
                    <a:pt x="420" y="14"/>
                  </a:cubicBezTo>
                  <a:cubicBezTo>
                    <a:pt x="420" y="15"/>
                    <a:pt x="421" y="16"/>
                    <a:pt x="421" y="17"/>
                  </a:cubicBezTo>
                  <a:cubicBezTo>
                    <a:pt x="422" y="18"/>
                    <a:pt x="422" y="19"/>
                    <a:pt x="423" y="20"/>
                  </a:cubicBezTo>
                  <a:cubicBezTo>
                    <a:pt x="424" y="21"/>
                    <a:pt x="425" y="21"/>
                    <a:pt x="425" y="22"/>
                  </a:cubicBezTo>
                  <a:cubicBezTo>
                    <a:pt x="426" y="23"/>
                    <a:pt x="427" y="23"/>
                    <a:pt x="428" y="24"/>
                  </a:cubicBezTo>
                  <a:cubicBezTo>
                    <a:pt x="429" y="24"/>
                    <a:pt x="430" y="25"/>
                    <a:pt x="431" y="25"/>
                  </a:cubicBezTo>
                  <a:cubicBezTo>
                    <a:pt x="432" y="26"/>
                    <a:pt x="432" y="26"/>
                    <a:pt x="433" y="27"/>
                  </a:cubicBezTo>
                  <a:cubicBezTo>
                    <a:pt x="433" y="28"/>
                    <a:pt x="433" y="29"/>
                    <a:pt x="433" y="30"/>
                  </a:cubicBezTo>
                  <a:cubicBezTo>
                    <a:pt x="433" y="31"/>
                    <a:pt x="433" y="31"/>
                    <a:pt x="433" y="32"/>
                  </a:cubicBezTo>
                  <a:cubicBezTo>
                    <a:pt x="432" y="33"/>
                    <a:pt x="432" y="34"/>
                    <a:pt x="431" y="34"/>
                  </a:cubicBezTo>
                  <a:cubicBezTo>
                    <a:pt x="430" y="35"/>
                    <a:pt x="430" y="35"/>
                    <a:pt x="429" y="35"/>
                  </a:cubicBezTo>
                  <a:cubicBezTo>
                    <a:pt x="428" y="35"/>
                    <a:pt x="427" y="36"/>
                    <a:pt x="426" y="36"/>
                  </a:cubicBezTo>
                  <a:cubicBezTo>
                    <a:pt x="425" y="36"/>
                    <a:pt x="424" y="35"/>
                    <a:pt x="423" y="35"/>
                  </a:cubicBezTo>
                  <a:cubicBezTo>
                    <a:pt x="422" y="35"/>
                    <a:pt x="421" y="35"/>
                    <a:pt x="420" y="34"/>
                  </a:cubicBezTo>
                  <a:cubicBezTo>
                    <a:pt x="419" y="34"/>
                    <a:pt x="418" y="33"/>
                    <a:pt x="417" y="33"/>
                  </a:cubicBezTo>
                  <a:cubicBezTo>
                    <a:pt x="415" y="39"/>
                    <a:pt x="415" y="39"/>
                    <a:pt x="415" y="39"/>
                  </a:cubicBezTo>
                  <a:cubicBezTo>
                    <a:pt x="417" y="40"/>
                    <a:pt x="418" y="41"/>
                    <a:pt x="420" y="41"/>
                  </a:cubicBezTo>
                  <a:cubicBezTo>
                    <a:pt x="422" y="41"/>
                    <a:pt x="424" y="42"/>
                    <a:pt x="426" y="42"/>
                  </a:cubicBezTo>
                  <a:cubicBezTo>
                    <a:pt x="427" y="42"/>
                    <a:pt x="429" y="41"/>
                    <a:pt x="431" y="41"/>
                  </a:cubicBezTo>
                  <a:cubicBezTo>
                    <a:pt x="432" y="41"/>
                    <a:pt x="434" y="40"/>
                    <a:pt x="435" y="40"/>
                  </a:cubicBezTo>
                  <a:cubicBezTo>
                    <a:pt x="436" y="39"/>
                    <a:pt x="437" y="38"/>
                    <a:pt x="438" y="37"/>
                  </a:cubicBezTo>
                  <a:cubicBezTo>
                    <a:pt x="439" y="36"/>
                    <a:pt x="440" y="35"/>
                    <a:pt x="441" y="34"/>
                  </a:cubicBezTo>
                  <a:cubicBezTo>
                    <a:pt x="441" y="32"/>
                    <a:pt x="441" y="31"/>
                    <a:pt x="441" y="29"/>
                  </a:cubicBezTo>
                  <a:cubicBezTo>
                    <a:pt x="441" y="27"/>
                    <a:pt x="441" y="26"/>
                    <a:pt x="441" y="25"/>
                  </a:cubicBezTo>
                  <a:cubicBezTo>
                    <a:pt x="440" y="24"/>
                    <a:pt x="440" y="23"/>
                    <a:pt x="439" y="22"/>
                  </a:cubicBezTo>
                  <a:cubicBezTo>
                    <a:pt x="438" y="21"/>
                    <a:pt x="437" y="20"/>
                    <a:pt x="436" y="20"/>
                  </a:cubicBezTo>
                  <a:cubicBezTo>
                    <a:pt x="435" y="19"/>
                    <a:pt x="434" y="19"/>
                    <a:pt x="433" y="18"/>
                  </a:cubicBezTo>
                  <a:cubicBezTo>
                    <a:pt x="433" y="18"/>
                    <a:pt x="432" y="17"/>
                    <a:pt x="431" y="16"/>
                  </a:cubicBezTo>
                  <a:cubicBezTo>
                    <a:pt x="430" y="16"/>
                    <a:pt x="430" y="15"/>
                    <a:pt x="429" y="15"/>
                  </a:cubicBezTo>
                  <a:cubicBezTo>
                    <a:pt x="429" y="14"/>
                    <a:pt x="428" y="13"/>
                    <a:pt x="428" y="12"/>
                  </a:cubicBezTo>
                  <a:cubicBezTo>
                    <a:pt x="428" y="12"/>
                    <a:pt x="429" y="11"/>
                    <a:pt x="429" y="10"/>
                  </a:cubicBezTo>
                  <a:cubicBezTo>
                    <a:pt x="429" y="10"/>
                    <a:pt x="430" y="9"/>
                    <a:pt x="431" y="9"/>
                  </a:cubicBezTo>
                  <a:cubicBezTo>
                    <a:pt x="431" y="9"/>
                    <a:pt x="432" y="8"/>
                    <a:pt x="433" y="8"/>
                  </a:cubicBezTo>
                  <a:cubicBezTo>
                    <a:pt x="433" y="8"/>
                    <a:pt x="434" y="8"/>
                    <a:pt x="435" y="8"/>
                  </a:cubicBezTo>
                  <a:cubicBezTo>
                    <a:pt x="436" y="8"/>
                    <a:pt x="437" y="8"/>
                    <a:pt x="438" y="8"/>
                  </a:cubicBezTo>
                  <a:cubicBezTo>
                    <a:pt x="439" y="8"/>
                    <a:pt x="439" y="9"/>
                    <a:pt x="440" y="9"/>
                  </a:cubicBezTo>
                  <a:cubicBezTo>
                    <a:pt x="441" y="9"/>
                    <a:pt x="442" y="10"/>
                    <a:pt x="443" y="10"/>
                  </a:cubicBezTo>
                  <a:lnTo>
                    <a:pt x="445" y="4"/>
                  </a:lnTo>
                  <a:close/>
                  <a:moveTo>
                    <a:pt x="473" y="29"/>
                  </a:moveTo>
                  <a:cubicBezTo>
                    <a:pt x="474" y="28"/>
                    <a:pt x="474" y="27"/>
                    <a:pt x="474" y="26"/>
                  </a:cubicBezTo>
                  <a:cubicBezTo>
                    <a:pt x="474" y="25"/>
                    <a:pt x="474" y="24"/>
                    <a:pt x="474" y="23"/>
                  </a:cubicBezTo>
                  <a:cubicBezTo>
                    <a:pt x="474" y="20"/>
                    <a:pt x="474" y="18"/>
                    <a:pt x="473" y="17"/>
                  </a:cubicBezTo>
                  <a:cubicBezTo>
                    <a:pt x="472" y="15"/>
                    <a:pt x="470" y="14"/>
                    <a:pt x="469" y="13"/>
                  </a:cubicBezTo>
                  <a:cubicBezTo>
                    <a:pt x="467" y="12"/>
                    <a:pt x="465" y="12"/>
                    <a:pt x="462" y="12"/>
                  </a:cubicBezTo>
                  <a:cubicBezTo>
                    <a:pt x="461" y="12"/>
                    <a:pt x="459" y="12"/>
                    <a:pt x="457" y="13"/>
                  </a:cubicBezTo>
                  <a:cubicBezTo>
                    <a:pt x="456" y="14"/>
                    <a:pt x="454" y="14"/>
                    <a:pt x="453" y="16"/>
                  </a:cubicBezTo>
                  <a:cubicBezTo>
                    <a:pt x="452" y="17"/>
                    <a:pt x="450" y="18"/>
                    <a:pt x="449" y="19"/>
                  </a:cubicBezTo>
                  <a:cubicBezTo>
                    <a:pt x="448" y="21"/>
                    <a:pt x="448" y="22"/>
                    <a:pt x="447" y="24"/>
                  </a:cubicBezTo>
                  <a:cubicBezTo>
                    <a:pt x="447" y="26"/>
                    <a:pt x="446" y="27"/>
                    <a:pt x="446" y="29"/>
                  </a:cubicBezTo>
                  <a:cubicBezTo>
                    <a:pt x="446" y="31"/>
                    <a:pt x="447" y="33"/>
                    <a:pt x="447" y="35"/>
                  </a:cubicBezTo>
                  <a:cubicBezTo>
                    <a:pt x="448" y="36"/>
                    <a:pt x="449" y="38"/>
                    <a:pt x="450" y="39"/>
                  </a:cubicBezTo>
                  <a:cubicBezTo>
                    <a:pt x="451" y="40"/>
                    <a:pt x="453" y="40"/>
                    <a:pt x="454" y="41"/>
                  </a:cubicBezTo>
                  <a:cubicBezTo>
                    <a:pt x="456" y="41"/>
                    <a:pt x="458" y="42"/>
                    <a:pt x="460" y="42"/>
                  </a:cubicBezTo>
                  <a:cubicBezTo>
                    <a:pt x="462" y="42"/>
                    <a:pt x="463" y="41"/>
                    <a:pt x="465" y="41"/>
                  </a:cubicBezTo>
                  <a:cubicBezTo>
                    <a:pt x="466" y="41"/>
                    <a:pt x="468" y="40"/>
                    <a:pt x="469" y="40"/>
                  </a:cubicBezTo>
                  <a:cubicBezTo>
                    <a:pt x="470" y="34"/>
                    <a:pt x="470" y="34"/>
                    <a:pt x="470" y="34"/>
                  </a:cubicBezTo>
                  <a:cubicBezTo>
                    <a:pt x="469" y="35"/>
                    <a:pt x="467" y="35"/>
                    <a:pt x="466" y="36"/>
                  </a:cubicBezTo>
                  <a:cubicBezTo>
                    <a:pt x="464" y="36"/>
                    <a:pt x="463" y="36"/>
                    <a:pt x="461" y="36"/>
                  </a:cubicBezTo>
                  <a:cubicBezTo>
                    <a:pt x="460" y="36"/>
                    <a:pt x="458" y="36"/>
                    <a:pt x="457" y="36"/>
                  </a:cubicBezTo>
                  <a:cubicBezTo>
                    <a:pt x="456" y="35"/>
                    <a:pt x="455" y="34"/>
                    <a:pt x="454" y="33"/>
                  </a:cubicBezTo>
                  <a:cubicBezTo>
                    <a:pt x="454" y="32"/>
                    <a:pt x="453" y="31"/>
                    <a:pt x="453" y="29"/>
                  </a:cubicBezTo>
                  <a:lnTo>
                    <a:pt x="473" y="29"/>
                  </a:lnTo>
                  <a:close/>
                  <a:moveTo>
                    <a:pt x="454" y="24"/>
                  </a:moveTo>
                  <a:cubicBezTo>
                    <a:pt x="455" y="23"/>
                    <a:pt x="455" y="22"/>
                    <a:pt x="456" y="21"/>
                  </a:cubicBezTo>
                  <a:cubicBezTo>
                    <a:pt x="457" y="20"/>
                    <a:pt x="458" y="19"/>
                    <a:pt x="459" y="18"/>
                  </a:cubicBezTo>
                  <a:cubicBezTo>
                    <a:pt x="460" y="18"/>
                    <a:pt x="461" y="17"/>
                    <a:pt x="462" y="17"/>
                  </a:cubicBezTo>
                  <a:cubicBezTo>
                    <a:pt x="464" y="17"/>
                    <a:pt x="465" y="18"/>
                    <a:pt x="466" y="19"/>
                  </a:cubicBezTo>
                  <a:cubicBezTo>
                    <a:pt x="467" y="19"/>
                    <a:pt x="467" y="21"/>
                    <a:pt x="467" y="22"/>
                  </a:cubicBezTo>
                  <a:cubicBezTo>
                    <a:pt x="467" y="22"/>
                    <a:pt x="467" y="23"/>
                    <a:pt x="467" y="23"/>
                  </a:cubicBezTo>
                  <a:cubicBezTo>
                    <a:pt x="467" y="23"/>
                    <a:pt x="467" y="24"/>
                    <a:pt x="467" y="24"/>
                  </a:cubicBezTo>
                  <a:lnTo>
                    <a:pt x="454" y="24"/>
                  </a:lnTo>
                  <a:close/>
                  <a:moveTo>
                    <a:pt x="476" y="41"/>
                  </a:moveTo>
                  <a:cubicBezTo>
                    <a:pt x="484" y="41"/>
                    <a:pt x="484" y="41"/>
                    <a:pt x="484" y="41"/>
                  </a:cubicBezTo>
                  <a:cubicBezTo>
                    <a:pt x="486" y="28"/>
                    <a:pt x="486" y="28"/>
                    <a:pt x="486" y="28"/>
                  </a:cubicBezTo>
                  <a:cubicBezTo>
                    <a:pt x="487" y="27"/>
                    <a:pt x="487" y="26"/>
                    <a:pt x="487" y="25"/>
                  </a:cubicBezTo>
                  <a:cubicBezTo>
                    <a:pt x="488" y="24"/>
                    <a:pt x="488" y="23"/>
                    <a:pt x="489" y="22"/>
                  </a:cubicBezTo>
                  <a:cubicBezTo>
                    <a:pt x="490" y="21"/>
                    <a:pt x="491" y="20"/>
                    <a:pt x="492" y="20"/>
                  </a:cubicBezTo>
                  <a:cubicBezTo>
                    <a:pt x="492" y="19"/>
                    <a:pt x="494" y="19"/>
                    <a:pt x="495" y="19"/>
                  </a:cubicBezTo>
                  <a:cubicBezTo>
                    <a:pt x="495" y="19"/>
                    <a:pt x="496" y="19"/>
                    <a:pt x="496" y="19"/>
                  </a:cubicBezTo>
                  <a:cubicBezTo>
                    <a:pt x="497" y="19"/>
                    <a:pt x="497" y="19"/>
                    <a:pt x="498" y="19"/>
                  </a:cubicBezTo>
                  <a:cubicBezTo>
                    <a:pt x="499" y="12"/>
                    <a:pt x="499" y="12"/>
                    <a:pt x="499" y="12"/>
                  </a:cubicBezTo>
                  <a:cubicBezTo>
                    <a:pt x="499" y="12"/>
                    <a:pt x="498" y="12"/>
                    <a:pt x="498" y="12"/>
                  </a:cubicBezTo>
                  <a:cubicBezTo>
                    <a:pt x="497" y="12"/>
                    <a:pt x="497" y="12"/>
                    <a:pt x="496" y="12"/>
                  </a:cubicBezTo>
                  <a:cubicBezTo>
                    <a:pt x="496" y="12"/>
                    <a:pt x="495" y="12"/>
                    <a:pt x="494" y="13"/>
                  </a:cubicBezTo>
                  <a:cubicBezTo>
                    <a:pt x="493" y="13"/>
                    <a:pt x="492" y="13"/>
                    <a:pt x="492" y="14"/>
                  </a:cubicBezTo>
                  <a:cubicBezTo>
                    <a:pt x="491" y="14"/>
                    <a:pt x="490" y="15"/>
                    <a:pt x="490" y="16"/>
                  </a:cubicBezTo>
                  <a:cubicBezTo>
                    <a:pt x="489" y="16"/>
                    <a:pt x="488" y="17"/>
                    <a:pt x="488" y="18"/>
                  </a:cubicBezTo>
                  <a:cubicBezTo>
                    <a:pt x="488" y="18"/>
                    <a:pt x="488" y="18"/>
                    <a:pt x="488" y="18"/>
                  </a:cubicBezTo>
                  <a:cubicBezTo>
                    <a:pt x="489" y="13"/>
                    <a:pt x="489" y="13"/>
                    <a:pt x="489" y="13"/>
                  </a:cubicBezTo>
                  <a:cubicBezTo>
                    <a:pt x="482" y="13"/>
                    <a:pt x="482" y="13"/>
                    <a:pt x="482" y="13"/>
                  </a:cubicBezTo>
                  <a:cubicBezTo>
                    <a:pt x="482" y="14"/>
                    <a:pt x="482" y="15"/>
                    <a:pt x="481" y="16"/>
                  </a:cubicBezTo>
                  <a:lnTo>
                    <a:pt x="476" y="41"/>
                  </a:lnTo>
                  <a:close/>
                  <a:moveTo>
                    <a:pt x="505" y="41"/>
                  </a:moveTo>
                  <a:cubicBezTo>
                    <a:pt x="513" y="41"/>
                    <a:pt x="513" y="41"/>
                    <a:pt x="513" y="41"/>
                  </a:cubicBezTo>
                  <a:cubicBezTo>
                    <a:pt x="529" y="13"/>
                    <a:pt x="529" y="13"/>
                    <a:pt x="529" y="13"/>
                  </a:cubicBezTo>
                  <a:cubicBezTo>
                    <a:pt x="522" y="13"/>
                    <a:pt x="522" y="13"/>
                    <a:pt x="522" y="13"/>
                  </a:cubicBezTo>
                  <a:cubicBezTo>
                    <a:pt x="511" y="33"/>
                    <a:pt x="511" y="33"/>
                    <a:pt x="511" y="33"/>
                  </a:cubicBezTo>
                  <a:cubicBezTo>
                    <a:pt x="510" y="33"/>
                    <a:pt x="510" y="33"/>
                    <a:pt x="510" y="33"/>
                  </a:cubicBezTo>
                  <a:cubicBezTo>
                    <a:pt x="508" y="13"/>
                    <a:pt x="508" y="13"/>
                    <a:pt x="508" y="13"/>
                  </a:cubicBezTo>
                  <a:cubicBezTo>
                    <a:pt x="500" y="13"/>
                    <a:pt x="500" y="13"/>
                    <a:pt x="500" y="13"/>
                  </a:cubicBezTo>
                  <a:lnTo>
                    <a:pt x="505" y="41"/>
                  </a:lnTo>
                  <a:close/>
                  <a:moveTo>
                    <a:pt x="528" y="41"/>
                  </a:moveTo>
                  <a:cubicBezTo>
                    <a:pt x="535" y="41"/>
                    <a:pt x="535" y="41"/>
                    <a:pt x="535" y="41"/>
                  </a:cubicBezTo>
                  <a:cubicBezTo>
                    <a:pt x="541" y="13"/>
                    <a:pt x="541" y="13"/>
                    <a:pt x="541" y="13"/>
                  </a:cubicBezTo>
                  <a:cubicBezTo>
                    <a:pt x="534" y="13"/>
                    <a:pt x="534" y="13"/>
                    <a:pt x="534" y="13"/>
                  </a:cubicBezTo>
                  <a:lnTo>
                    <a:pt x="528" y="41"/>
                  </a:lnTo>
                  <a:close/>
                  <a:moveTo>
                    <a:pt x="535" y="8"/>
                  </a:moveTo>
                  <a:cubicBezTo>
                    <a:pt x="543" y="8"/>
                    <a:pt x="543" y="8"/>
                    <a:pt x="543" y="8"/>
                  </a:cubicBezTo>
                  <a:cubicBezTo>
                    <a:pt x="544" y="1"/>
                    <a:pt x="544" y="1"/>
                    <a:pt x="544" y="1"/>
                  </a:cubicBezTo>
                  <a:cubicBezTo>
                    <a:pt x="537" y="1"/>
                    <a:pt x="537" y="1"/>
                    <a:pt x="537" y="1"/>
                  </a:cubicBezTo>
                  <a:lnTo>
                    <a:pt x="535" y="8"/>
                  </a:lnTo>
                  <a:close/>
                  <a:moveTo>
                    <a:pt x="568" y="13"/>
                  </a:moveTo>
                  <a:cubicBezTo>
                    <a:pt x="567" y="13"/>
                    <a:pt x="566" y="13"/>
                    <a:pt x="565" y="12"/>
                  </a:cubicBezTo>
                  <a:cubicBezTo>
                    <a:pt x="564" y="12"/>
                    <a:pt x="562" y="12"/>
                    <a:pt x="561" y="12"/>
                  </a:cubicBezTo>
                  <a:cubicBezTo>
                    <a:pt x="559" y="12"/>
                    <a:pt x="556" y="12"/>
                    <a:pt x="554" y="13"/>
                  </a:cubicBezTo>
                  <a:cubicBezTo>
                    <a:pt x="552" y="14"/>
                    <a:pt x="550" y="15"/>
                    <a:pt x="549" y="17"/>
                  </a:cubicBezTo>
                  <a:cubicBezTo>
                    <a:pt x="547" y="19"/>
                    <a:pt x="546" y="20"/>
                    <a:pt x="546" y="23"/>
                  </a:cubicBezTo>
                  <a:cubicBezTo>
                    <a:pt x="545" y="25"/>
                    <a:pt x="544" y="27"/>
                    <a:pt x="544" y="29"/>
                  </a:cubicBezTo>
                  <a:cubicBezTo>
                    <a:pt x="544" y="32"/>
                    <a:pt x="545" y="34"/>
                    <a:pt x="546" y="36"/>
                  </a:cubicBezTo>
                  <a:cubicBezTo>
                    <a:pt x="547" y="38"/>
                    <a:pt x="548" y="39"/>
                    <a:pt x="550" y="40"/>
                  </a:cubicBezTo>
                  <a:cubicBezTo>
                    <a:pt x="552" y="41"/>
                    <a:pt x="554" y="42"/>
                    <a:pt x="556" y="42"/>
                  </a:cubicBezTo>
                  <a:cubicBezTo>
                    <a:pt x="558" y="42"/>
                    <a:pt x="559" y="41"/>
                    <a:pt x="560" y="41"/>
                  </a:cubicBezTo>
                  <a:cubicBezTo>
                    <a:pt x="561" y="41"/>
                    <a:pt x="562" y="41"/>
                    <a:pt x="563" y="40"/>
                  </a:cubicBezTo>
                  <a:cubicBezTo>
                    <a:pt x="564" y="34"/>
                    <a:pt x="564" y="34"/>
                    <a:pt x="564" y="34"/>
                  </a:cubicBezTo>
                  <a:cubicBezTo>
                    <a:pt x="564" y="35"/>
                    <a:pt x="563" y="35"/>
                    <a:pt x="562" y="35"/>
                  </a:cubicBezTo>
                  <a:cubicBezTo>
                    <a:pt x="562" y="35"/>
                    <a:pt x="561" y="36"/>
                    <a:pt x="560" y="36"/>
                  </a:cubicBezTo>
                  <a:cubicBezTo>
                    <a:pt x="560" y="36"/>
                    <a:pt x="559" y="36"/>
                    <a:pt x="558" y="36"/>
                  </a:cubicBezTo>
                  <a:cubicBezTo>
                    <a:pt x="557" y="36"/>
                    <a:pt x="556" y="36"/>
                    <a:pt x="555" y="35"/>
                  </a:cubicBezTo>
                  <a:cubicBezTo>
                    <a:pt x="554" y="35"/>
                    <a:pt x="554" y="34"/>
                    <a:pt x="553" y="34"/>
                  </a:cubicBezTo>
                  <a:cubicBezTo>
                    <a:pt x="553" y="33"/>
                    <a:pt x="553" y="32"/>
                    <a:pt x="552" y="31"/>
                  </a:cubicBezTo>
                  <a:cubicBezTo>
                    <a:pt x="552" y="30"/>
                    <a:pt x="552" y="29"/>
                    <a:pt x="552" y="29"/>
                  </a:cubicBezTo>
                  <a:cubicBezTo>
                    <a:pt x="552" y="27"/>
                    <a:pt x="552" y="26"/>
                    <a:pt x="553" y="25"/>
                  </a:cubicBezTo>
                  <a:cubicBezTo>
                    <a:pt x="553" y="23"/>
                    <a:pt x="554" y="22"/>
                    <a:pt x="554" y="21"/>
                  </a:cubicBezTo>
                  <a:cubicBezTo>
                    <a:pt x="555" y="20"/>
                    <a:pt x="556" y="19"/>
                    <a:pt x="557" y="19"/>
                  </a:cubicBezTo>
                  <a:cubicBezTo>
                    <a:pt x="558" y="18"/>
                    <a:pt x="560" y="18"/>
                    <a:pt x="561" y="18"/>
                  </a:cubicBezTo>
                  <a:cubicBezTo>
                    <a:pt x="562" y="18"/>
                    <a:pt x="563" y="18"/>
                    <a:pt x="564" y="18"/>
                  </a:cubicBezTo>
                  <a:cubicBezTo>
                    <a:pt x="565" y="18"/>
                    <a:pt x="566" y="19"/>
                    <a:pt x="567" y="19"/>
                  </a:cubicBezTo>
                  <a:lnTo>
                    <a:pt x="568" y="13"/>
                  </a:lnTo>
                  <a:close/>
                  <a:moveTo>
                    <a:pt x="595" y="29"/>
                  </a:moveTo>
                  <a:cubicBezTo>
                    <a:pt x="595" y="28"/>
                    <a:pt x="596" y="27"/>
                    <a:pt x="596" y="26"/>
                  </a:cubicBezTo>
                  <a:cubicBezTo>
                    <a:pt x="596" y="25"/>
                    <a:pt x="596" y="24"/>
                    <a:pt x="596" y="23"/>
                  </a:cubicBezTo>
                  <a:cubicBezTo>
                    <a:pt x="596" y="20"/>
                    <a:pt x="595" y="18"/>
                    <a:pt x="594" y="17"/>
                  </a:cubicBezTo>
                  <a:cubicBezTo>
                    <a:pt x="593" y="15"/>
                    <a:pt x="592" y="14"/>
                    <a:pt x="590" y="13"/>
                  </a:cubicBezTo>
                  <a:cubicBezTo>
                    <a:pt x="589" y="12"/>
                    <a:pt x="587" y="12"/>
                    <a:pt x="584" y="12"/>
                  </a:cubicBezTo>
                  <a:cubicBezTo>
                    <a:pt x="582" y="12"/>
                    <a:pt x="581" y="12"/>
                    <a:pt x="579" y="13"/>
                  </a:cubicBezTo>
                  <a:cubicBezTo>
                    <a:pt x="577" y="14"/>
                    <a:pt x="576" y="14"/>
                    <a:pt x="575" y="16"/>
                  </a:cubicBezTo>
                  <a:cubicBezTo>
                    <a:pt x="573" y="17"/>
                    <a:pt x="572" y="18"/>
                    <a:pt x="571" y="19"/>
                  </a:cubicBezTo>
                  <a:cubicBezTo>
                    <a:pt x="570" y="21"/>
                    <a:pt x="570" y="22"/>
                    <a:pt x="569" y="24"/>
                  </a:cubicBezTo>
                  <a:cubicBezTo>
                    <a:pt x="569" y="26"/>
                    <a:pt x="568" y="27"/>
                    <a:pt x="568" y="29"/>
                  </a:cubicBezTo>
                  <a:cubicBezTo>
                    <a:pt x="568" y="31"/>
                    <a:pt x="569" y="33"/>
                    <a:pt x="569" y="35"/>
                  </a:cubicBezTo>
                  <a:cubicBezTo>
                    <a:pt x="570" y="36"/>
                    <a:pt x="571" y="38"/>
                    <a:pt x="572" y="39"/>
                  </a:cubicBezTo>
                  <a:cubicBezTo>
                    <a:pt x="573" y="40"/>
                    <a:pt x="575" y="40"/>
                    <a:pt x="576" y="41"/>
                  </a:cubicBezTo>
                  <a:cubicBezTo>
                    <a:pt x="578" y="41"/>
                    <a:pt x="580" y="42"/>
                    <a:pt x="582" y="42"/>
                  </a:cubicBezTo>
                  <a:cubicBezTo>
                    <a:pt x="583" y="42"/>
                    <a:pt x="585" y="41"/>
                    <a:pt x="586" y="41"/>
                  </a:cubicBezTo>
                  <a:cubicBezTo>
                    <a:pt x="588" y="41"/>
                    <a:pt x="589" y="40"/>
                    <a:pt x="591" y="40"/>
                  </a:cubicBezTo>
                  <a:cubicBezTo>
                    <a:pt x="592" y="34"/>
                    <a:pt x="592" y="34"/>
                    <a:pt x="592" y="34"/>
                  </a:cubicBezTo>
                  <a:cubicBezTo>
                    <a:pt x="590" y="35"/>
                    <a:pt x="589" y="35"/>
                    <a:pt x="588" y="36"/>
                  </a:cubicBezTo>
                  <a:cubicBezTo>
                    <a:pt x="586" y="36"/>
                    <a:pt x="585" y="36"/>
                    <a:pt x="583" y="36"/>
                  </a:cubicBezTo>
                  <a:cubicBezTo>
                    <a:pt x="581" y="36"/>
                    <a:pt x="580" y="36"/>
                    <a:pt x="579" y="36"/>
                  </a:cubicBezTo>
                  <a:cubicBezTo>
                    <a:pt x="578" y="35"/>
                    <a:pt x="577" y="34"/>
                    <a:pt x="576" y="33"/>
                  </a:cubicBezTo>
                  <a:cubicBezTo>
                    <a:pt x="576" y="32"/>
                    <a:pt x="575" y="31"/>
                    <a:pt x="575" y="29"/>
                  </a:cubicBezTo>
                  <a:lnTo>
                    <a:pt x="595" y="29"/>
                  </a:lnTo>
                  <a:close/>
                  <a:moveTo>
                    <a:pt x="576" y="24"/>
                  </a:moveTo>
                  <a:cubicBezTo>
                    <a:pt x="577" y="23"/>
                    <a:pt x="577" y="22"/>
                    <a:pt x="578" y="21"/>
                  </a:cubicBezTo>
                  <a:cubicBezTo>
                    <a:pt x="579" y="20"/>
                    <a:pt x="579" y="19"/>
                    <a:pt x="580" y="18"/>
                  </a:cubicBezTo>
                  <a:cubicBezTo>
                    <a:pt x="581" y="18"/>
                    <a:pt x="583" y="17"/>
                    <a:pt x="584" y="17"/>
                  </a:cubicBezTo>
                  <a:cubicBezTo>
                    <a:pt x="586" y="17"/>
                    <a:pt x="587" y="18"/>
                    <a:pt x="588" y="19"/>
                  </a:cubicBezTo>
                  <a:cubicBezTo>
                    <a:pt x="588" y="19"/>
                    <a:pt x="589" y="21"/>
                    <a:pt x="589" y="22"/>
                  </a:cubicBezTo>
                  <a:cubicBezTo>
                    <a:pt x="589" y="22"/>
                    <a:pt x="589" y="23"/>
                    <a:pt x="589" y="23"/>
                  </a:cubicBezTo>
                  <a:cubicBezTo>
                    <a:pt x="589" y="23"/>
                    <a:pt x="589" y="24"/>
                    <a:pt x="589" y="24"/>
                  </a:cubicBezTo>
                  <a:lnTo>
                    <a:pt x="576" y="24"/>
                  </a:lnTo>
                  <a:close/>
                  <a:moveTo>
                    <a:pt x="621" y="13"/>
                  </a:moveTo>
                  <a:cubicBezTo>
                    <a:pt x="620" y="13"/>
                    <a:pt x="619" y="13"/>
                    <a:pt x="617" y="12"/>
                  </a:cubicBezTo>
                  <a:cubicBezTo>
                    <a:pt x="616" y="12"/>
                    <a:pt x="615" y="12"/>
                    <a:pt x="613" y="12"/>
                  </a:cubicBezTo>
                  <a:cubicBezTo>
                    <a:pt x="612" y="12"/>
                    <a:pt x="611" y="12"/>
                    <a:pt x="610" y="12"/>
                  </a:cubicBezTo>
                  <a:cubicBezTo>
                    <a:pt x="609" y="13"/>
                    <a:pt x="607" y="13"/>
                    <a:pt x="606" y="13"/>
                  </a:cubicBezTo>
                  <a:cubicBezTo>
                    <a:pt x="605" y="14"/>
                    <a:pt x="604" y="14"/>
                    <a:pt x="604" y="15"/>
                  </a:cubicBezTo>
                  <a:cubicBezTo>
                    <a:pt x="603" y="16"/>
                    <a:pt x="602" y="17"/>
                    <a:pt x="602" y="18"/>
                  </a:cubicBezTo>
                  <a:cubicBezTo>
                    <a:pt x="601" y="19"/>
                    <a:pt x="601" y="20"/>
                    <a:pt x="601" y="21"/>
                  </a:cubicBezTo>
                  <a:cubicBezTo>
                    <a:pt x="601" y="22"/>
                    <a:pt x="601" y="23"/>
                    <a:pt x="602" y="24"/>
                  </a:cubicBezTo>
                  <a:cubicBezTo>
                    <a:pt x="602" y="25"/>
                    <a:pt x="603" y="26"/>
                    <a:pt x="603" y="26"/>
                  </a:cubicBezTo>
                  <a:cubicBezTo>
                    <a:pt x="604" y="27"/>
                    <a:pt x="605" y="27"/>
                    <a:pt x="606" y="28"/>
                  </a:cubicBezTo>
                  <a:cubicBezTo>
                    <a:pt x="607" y="29"/>
                    <a:pt x="607" y="29"/>
                    <a:pt x="608" y="29"/>
                  </a:cubicBezTo>
                  <a:cubicBezTo>
                    <a:pt x="609" y="30"/>
                    <a:pt x="609" y="31"/>
                    <a:pt x="610" y="31"/>
                  </a:cubicBezTo>
                  <a:cubicBezTo>
                    <a:pt x="610" y="32"/>
                    <a:pt x="610" y="32"/>
                    <a:pt x="610" y="33"/>
                  </a:cubicBezTo>
                  <a:cubicBezTo>
                    <a:pt x="610" y="34"/>
                    <a:pt x="610" y="34"/>
                    <a:pt x="610" y="35"/>
                  </a:cubicBezTo>
                  <a:cubicBezTo>
                    <a:pt x="610" y="35"/>
                    <a:pt x="609" y="35"/>
                    <a:pt x="609" y="36"/>
                  </a:cubicBezTo>
                  <a:cubicBezTo>
                    <a:pt x="608" y="36"/>
                    <a:pt x="608" y="36"/>
                    <a:pt x="607" y="36"/>
                  </a:cubicBezTo>
                  <a:cubicBezTo>
                    <a:pt x="607" y="36"/>
                    <a:pt x="606" y="36"/>
                    <a:pt x="605" y="36"/>
                  </a:cubicBezTo>
                  <a:cubicBezTo>
                    <a:pt x="605" y="36"/>
                    <a:pt x="604" y="36"/>
                    <a:pt x="603" y="36"/>
                  </a:cubicBezTo>
                  <a:cubicBezTo>
                    <a:pt x="602" y="36"/>
                    <a:pt x="601" y="35"/>
                    <a:pt x="601" y="35"/>
                  </a:cubicBezTo>
                  <a:cubicBezTo>
                    <a:pt x="600" y="35"/>
                    <a:pt x="599" y="34"/>
                    <a:pt x="598" y="34"/>
                  </a:cubicBezTo>
                  <a:cubicBezTo>
                    <a:pt x="597" y="40"/>
                    <a:pt x="597" y="40"/>
                    <a:pt x="597" y="40"/>
                  </a:cubicBezTo>
                  <a:cubicBezTo>
                    <a:pt x="598" y="40"/>
                    <a:pt x="600" y="41"/>
                    <a:pt x="601" y="41"/>
                  </a:cubicBezTo>
                  <a:cubicBezTo>
                    <a:pt x="603" y="41"/>
                    <a:pt x="604" y="42"/>
                    <a:pt x="605" y="42"/>
                  </a:cubicBezTo>
                  <a:cubicBezTo>
                    <a:pt x="607" y="42"/>
                    <a:pt x="608" y="41"/>
                    <a:pt x="609" y="41"/>
                  </a:cubicBezTo>
                  <a:cubicBezTo>
                    <a:pt x="610" y="41"/>
                    <a:pt x="612" y="41"/>
                    <a:pt x="613" y="40"/>
                  </a:cubicBezTo>
                  <a:cubicBezTo>
                    <a:pt x="614" y="40"/>
                    <a:pt x="615" y="39"/>
                    <a:pt x="616" y="39"/>
                  </a:cubicBezTo>
                  <a:cubicBezTo>
                    <a:pt x="616" y="38"/>
                    <a:pt x="617" y="37"/>
                    <a:pt x="617" y="36"/>
                  </a:cubicBezTo>
                  <a:cubicBezTo>
                    <a:pt x="618" y="35"/>
                    <a:pt x="618" y="33"/>
                    <a:pt x="618" y="32"/>
                  </a:cubicBezTo>
                  <a:cubicBezTo>
                    <a:pt x="618" y="31"/>
                    <a:pt x="618" y="30"/>
                    <a:pt x="617" y="29"/>
                  </a:cubicBezTo>
                  <a:cubicBezTo>
                    <a:pt x="617" y="28"/>
                    <a:pt x="616" y="27"/>
                    <a:pt x="616" y="27"/>
                  </a:cubicBezTo>
                  <a:cubicBezTo>
                    <a:pt x="615" y="26"/>
                    <a:pt x="614" y="25"/>
                    <a:pt x="613" y="25"/>
                  </a:cubicBezTo>
                  <a:cubicBezTo>
                    <a:pt x="613" y="24"/>
                    <a:pt x="612" y="24"/>
                    <a:pt x="611" y="23"/>
                  </a:cubicBezTo>
                  <a:cubicBezTo>
                    <a:pt x="610" y="23"/>
                    <a:pt x="610" y="22"/>
                    <a:pt x="609" y="22"/>
                  </a:cubicBezTo>
                  <a:cubicBezTo>
                    <a:pt x="609" y="21"/>
                    <a:pt x="609" y="21"/>
                    <a:pt x="609" y="20"/>
                  </a:cubicBezTo>
                  <a:cubicBezTo>
                    <a:pt x="609" y="20"/>
                    <a:pt x="609" y="19"/>
                    <a:pt x="609" y="19"/>
                  </a:cubicBezTo>
                  <a:cubicBezTo>
                    <a:pt x="609" y="18"/>
                    <a:pt x="610" y="18"/>
                    <a:pt x="610" y="18"/>
                  </a:cubicBezTo>
                  <a:cubicBezTo>
                    <a:pt x="611" y="18"/>
                    <a:pt x="611" y="18"/>
                    <a:pt x="612" y="18"/>
                  </a:cubicBezTo>
                  <a:cubicBezTo>
                    <a:pt x="612" y="17"/>
                    <a:pt x="613" y="17"/>
                    <a:pt x="614" y="17"/>
                  </a:cubicBezTo>
                  <a:cubicBezTo>
                    <a:pt x="615" y="17"/>
                    <a:pt x="616" y="18"/>
                    <a:pt x="617" y="18"/>
                  </a:cubicBezTo>
                  <a:cubicBezTo>
                    <a:pt x="618" y="18"/>
                    <a:pt x="619" y="18"/>
                    <a:pt x="620" y="19"/>
                  </a:cubicBezTo>
                  <a:lnTo>
                    <a:pt x="621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IN" sz="1800">
                <a:solidFill>
                  <a:srgbClr val="000000"/>
                </a:solidFill>
              </a:endParaRPr>
            </a:p>
          </p:txBody>
        </p:sp>
      </p:grpSp>
      <p:sp>
        <p:nvSpPr>
          <p:cNvPr id="23" name="Text Placeholder 1030"/>
          <p:cNvSpPr>
            <a:spLocks noGrp="1"/>
          </p:cNvSpPr>
          <p:nvPr>
            <p:ph type="body" sz="quarter" idx="10" hasCustomPrompt="1"/>
          </p:nvPr>
        </p:nvSpPr>
        <p:spPr>
          <a:xfrm>
            <a:off x="399133" y="4646313"/>
            <a:ext cx="4858623" cy="46357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/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  <a:endParaRPr lang="en-IN" dirty="0"/>
          </a:p>
        </p:txBody>
      </p:sp>
      <p:sp>
        <p:nvSpPr>
          <p:cNvPr id="24" name="Text Placeholder 1030"/>
          <p:cNvSpPr>
            <a:spLocks noGrp="1"/>
          </p:cNvSpPr>
          <p:nvPr>
            <p:ph type="body" sz="quarter" idx="11" hasCustomPrompt="1"/>
          </p:nvPr>
        </p:nvSpPr>
        <p:spPr>
          <a:xfrm>
            <a:off x="399133" y="5252919"/>
            <a:ext cx="4858623" cy="46357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/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dirty="0"/>
              <a:t>Designation </a:t>
            </a:r>
            <a:endParaRPr lang="en-IN" dirty="0"/>
          </a:p>
        </p:txBody>
      </p:sp>
      <p:sp>
        <p:nvSpPr>
          <p:cNvPr id="26" name="Parallelogram 25"/>
          <p:cNvSpPr/>
          <p:nvPr userDrawn="1"/>
        </p:nvSpPr>
        <p:spPr>
          <a:xfrm>
            <a:off x="5756786" y="3518"/>
            <a:ext cx="6435213" cy="6553269"/>
          </a:xfrm>
          <a:custGeom>
            <a:avLst/>
            <a:gdLst/>
            <a:ahLst/>
            <a:cxnLst/>
            <a:rect l="l" t="t" r="r" b="b"/>
            <a:pathLst>
              <a:path w="5048250" h="5140862">
                <a:moveTo>
                  <a:pt x="3013830" y="0"/>
                </a:moveTo>
                <a:lnTo>
                  <a:pt x="5048250" y="0"/>
                </a:lnTo>
                <a:lnTo>
                  <a:pt x="5048250" y="5140862"/>
                </a:lnTo>
                <a:lnTo>
                  <a:pt x="0" y="51408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IN" sz="1800">
              <a:solidFill>
                <a:srgbClr val="000000"/>
              </a:solidFill>
            </a:endParaRP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839351" y="-1"/>
            <a:ext cx="6352651" cy="6556788"/>
          </a:xfrm>
          <a:custGeom>
            <a:avLst/>
            <a:gdLst/>
            <a:ahLst/>
            <a:cxnLst/>
            <a:rect l="l" t="t" r="r" b="b"/>
            <a:pathLst>
              <a:path w="5052943" h="5125139">
                <a:moveTo>
                  <a:pt x="3057525" y="0"/>
                </a:moveTo>
                <a:lnTo>
                  <a:pt x="5048250" y="0"/>
                </a:lnTo>
                <a:lnTo>
                  <a:pt x="5048250" y="1"/>
                </a:lnTo>
                <a:lnTo>
                  <a:pt x="5048250" y="3152775"/>
                </a:lnTo>
                <a:lnTo>
                  <a:pt x="5052943" y="3152775"/>
                </a:lnTo>
                <a:lnTo>
                  <a:pt x="5052943" y="5125138"/>
                </a:lnTo>
                <a:lnTo>
                  <a:pt x="5048250" y="5125138"/>
                </a:lnTo>
                <a:lnTo>
                  <a:pt x="3057525" y="5125138"/>
                </a:lnTo>
                <a:lnTo>
                  <a:pt x="2052619" y="5125138"/>
                </a:lnTo>
                <a:lnTo>
                  <a:pt x="2052618" y="5125139"/>
                </a:lnTo>
                <a:lnTo>
                  <a:pt x="0" y="5125139"/>
                </a:lnTo>
                <a:lnTo>
                  <a:pt x="2995632" y="1"/>
                </a:lnTo>
                <a:lnTo>
                  <a:pt x="3057525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IN" dirty="0"/>
            </a:lvl1pPr>
          </a:lstStyle>
          <a:p>
            <a:endParaRPr lang="en-IN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1049700" y="1007106"/>
            <a:ext cx="1065707" cy="1126383"/>
            <a:chOff x="-3330575" y="3005138"/>
            <a:chExt cx="1533526" cy="1620837"/>
          </a:xfrm>
          <a:solidFill>
            <a:schemeClr val="accent1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-3330575" y="3005138"/>
              <a:ext cx="1233488" cy="1620837"/>
            </a:xfrm>
            <a:custGeom>
              <a:avLst/>
              <a:gdLst>
                <a:gd name="T0" fmla="*/ 621 w 777"/>
                <a:gd name="T1" fmla="*/ 0 h 1021"/>
                <a:gd name="T2" fmla="*/ 0 w 777"/>
                <a:gd name="T3" fmla="*/ 1021 h 1021"/>
                <a:gd name="T4" fmla="*/ 621 w 777"/>
                <a:gd name="T5" fmla="*/ 1021 h 1021"/>
                <a:gd name="T6" fmla="*/ 777 w 777"/>
                <a:gd name="T7" fmla="*/ 785 h 1021"/>
                <a:gd name="T8" fmla="*/ 231 w 777"/>
                <a:gd name="T9" fmla="*/ 785 h 1021"/>
                <a:gd name="T10" fmla="*/ 699 w 777"/>
                <a:gd name="T11" fmla="*/ 0 h 1021"/>
                <a:gd name="T12" fmla="*/ 621 w 777"/>
                <a:gd name="T13" fmla="*/ 0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7" h="1021">
                  <a:moveTo>
                    <a:pt x="621" y="0"/>
                  </a:moveTo>
                  <a:lnTo>
                    <a:pt x="0" y="1021"/>
                  </a:lnTo>
                  <a:lnTo>
                    <a:pt x="621" y="1021"/>
                  </a:lnTo>
                  <a:lnTo>
                    <a:pt x="777" y="785"/>
                  </a:lnTo>
                  <a:lnTo>
                    <a:pt x="231" y="785"/>
                  </a:lnTo>
                  <a:lnTo>
                    <a:pt x="699" y="0"/>
                  </a:lnTo>
                  <a:lnTo>
                    <a:pt x="6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-2611437" y="3005138"/>
              <a:ext cx="814388" cy="1136650"/>
            </a:xfrm>
            <a:custGeom>
              <a:avLst/>
              <a:gdLst>
                <a:gd name="T0" fmla="*/ 435 w 513"/>
                <a:gd name="T1" fmla="*/ 0 h 716"/>
                <a:gd name="T2" fmla="*/ 513 w 513"/>
                <a:gd name="T3" fmla="*/ 0 h 716"/>
                <a:gd name="T4" fmla="*/ 78 w 513"/>
                <a:gd name="T5" fmla="*/ 716 h 716"/>
                <a:gd name="T6" fmla="*/ 0 w 513"/>
                <a:gd name="T7" fmla="*/ 716 h 716"/>
                <a:gd name="T8" fmla="*/ 435 w 513"/>
                <a:gd name="T9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716">
                  <a:moveTo>
                    <a:pt x="435" y="0"/>
                  </a:moveTo>
                  <a:lnTo>
                    <a:pt x="513" y="0"/>
                  </a:lnTo>
                  <a:lnTo>
                    <a:pt x="78" y="716"/>
                  </a:lnTo>
                  <a:lnTo>
                    <a:pt x="0" y="716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grpSp>
        <p:nvGrpSpPr>
          <p:cNvPr id="30" name="Group 29"/>
          <p:cNvGrpSpPr/>
          <p:nvPr userDrawn="1"/>
        </p:nvGrpSpPr>
        <p:grpSpPr>
          <a:xfrm>
            <a:off x="5412294" y="2199399"/>
            <a:ext cx="996725" cy="1078995"/>
            <a:chOff x="2301081" y="6662108"/>
            <a:chExt cx="1500188" cy="1624012"/>
          </a:xfrm>
          <a:solidFill>
            <a:schemeClr val="accent1"/>
          </a:solidFill>
        </p:grpSpPr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2551906" y="6662108"/>
              <a:ext cx="1249363" cy="393700"/>
            </a:xfrm>
            <a:custGeom>
              <a:avLst/>
              <a:gdLst>
                <a:gd name="T0" fmla="*/ 402 w 787"/>
                <a:gd name="T1" fmla="*/ 248 h 248"/>
                <a:gd name="T2" fmla="*/ 633 w 787"/>
                <a:gd name="T3" fmla="*/ 248 h 248"/>
                <a:gd name="T4" fmla="*/ 787 w 787"/>
                <a:gd name="T5" fmla="*/ 0 h 248"/>
                <a:gd name="T6" fmla="*/ 151 w 787"/>
                <a:gd name="T7" fmla="*/ 0 h 248"/>
                <a:gd name="T8" fmla="*/ 0 w 787"/>
                <a:gd name="T9" fmla="*/ 246 h 248"/>
                <a:gd name="T10" fmla="*/ 402 w 787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7" h="248">
                  <a:moveTo>
                    <a:pt x="402" y="248"/>
                  </a:moveTo>
                  <a:lnTo>
                    <a:pt x="633" y="248"/>
                  </a:lnTo>
                  <a:lnTo>
                    <a:pt x="787" y="0"/>
                  </a:lnTo>
                  <a:lnTo>
                    <a:pt x="151" y="0"/>
                  </a:lnTo>
                  <a:lnTo>
                    <a:pt x="0" y="246"/>
                  </a:lnTo>
                  <a:lnTo>
                    <a:pt x="402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2683669" y="7162170"/>
              <a:ext cx="809625" cy="1123950"/>
            </a:xfrm>
            <a:custGeom>
              <a:avLst/>
              <a:gdLst>
                <a:gd name="T0" fmla="*/ 435 w 510"/>
                <a:gd name="T1" fmla="*/ 0 h 708"/>
                <a:gd name="T2" fmla="*/ 510 w 510"/>
                <a:gd name="T3" fmla="*/ 0 h 708"/>
                <a:gd name="T4" fmla="*/ 78 w 510"/>
                <a:gd name="T5" fmla="*/ 708 h 708"/>
                <a:gd name="T6" fmla="*/ 0 w 510"/>
                <a:gd name="T7" fmla="*/ 708 h 708"/>
                <a:gd name="T8" fmla="*/ 435 w 510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708">
                  <a:moveTo>
                    <a:pt x="435" y="0"/>
                  </a:moveTo>
                  <a:lnTo>
                    <a:pt x="510" y="0"/>
                  </a:lnTo>
                  <a:lnTo>
                    <a:pt x="78" y="708"/>
                  </a:lnTo>
                  <a:lnTo>
                    <a:pt x="0" y="708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2301081" y="7162170"/>
              <a:ext cx="803275" cy="1123950"/>
            </a:xfrm>
            <a:custGeom>
              <a:avLst/>
              <a:gdLst>
                <a:gd name="T0" fmla="*/ 430 w 506"/>
                <a:gd name="T1" fmla="*/ 0 h 708"/>
                <a:gd name="T2" fmla="*/ 506 w 506"/>
                <a:gd name="T3" fmla="*/ 0 h 708"/>
                <a:gd name="T4" fmla="*/ 76 w 506"/>
                <a:gd name="T5" fmla="*/ 708 h 708"/>
                <a:gd name="T6" fmla="*/ 0 w 506"/>
                <a:gd name="T7" fmla="*/ 708 h 708"/>
                <a:gd name="T8" fmla="*/ 430 w 506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6" h="708">
                  <a:moveTo>
                    <a:pt x="430" y="0"/>
                  </a:moveTo>
                  <a:lnTo>
                    <a:pt x="506" y="0"/>
                  </a:lnTo>
                  <a:lnTo>
                    <a:pt x="76" y="708"/>
                  </a:lnTo>
                  <a:lnTo>
                    <a:pt x="0" y="708"/>
                  </a:lnTo>
                  <a:lnTo>
                    <a:pt x="4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84495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12192000" cy="6554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1" y="0"/>
            <a:ext cx="12183353" cy="6553200"/>
            <a:chOff x="-1" y="0"/>
            <a:chExt cx="9137515" cy="4914900"/>
          </a:xfrm>
        </p:grpSpPr>
        <p:grpSp>
          <p:nvGrpSpPr>
            <p:cNvPr id="24" name="Group 87"/>
            <p:cNvGrpSpPr/>
            <p:nvPr userDrawn="1"/>
          </p:nvGrpSpPr>
          <p:grpSpPr>
            <a:xfrm>
              <a:off x="142570" y="6214"/>
              <a:ext cx="8858313" cy="4908686"/>
              <a:chOff x="142672" y="603115"/>
              <a:chExt cx="8864600" cy="4338536"/>
            </a:xfrm>
          </p:grpSpPr>
          <p:cxnSp>
            <p:nvCxnSpPr>
              <p:cNvPr id="59" name="Straight Connector 58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54"/>
            <p:cNvGrpSpPr/>
            <p:nvPr userDrawn="1"/>
          </p:nvGrpSpPr>
          <p:grpSpPr>
            <a:xfrm>
              <a:off x="-1" y="0"/>
              <a:ext cx="9137515" cy="4896684"/>
              <a:chOff x="-4568762" y="0"/>
              <a:chExt cx="13706277" cy="4896684"/>
            </a:xfrm>
          </p:grpSpPr>
          <p:cxnSp>
            <p:nvCxnSpPr>
              <p:cNvPr id="26" name="Straight Connector 25"/>
              <p:cNvCxnSpPr/>
              <p:nvPr userDrawn="1"/>
            </p:nvCxnSpPr>
            <p:spPr>
              <a:xfrm flipH="1">
                <a:off x="-4568761" y="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>
              <a:xfrm flipH="1">
                <a:off x="-4568761" y="15283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>
              <a:xfrm flipH="1">
                <a:off x="-4568762" y="305676"/>
                <a:ext cx="13706277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>
              <a:xfrm flipH="1">
                <a:off x="-4568761" y="45851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>
              <a:xfrm flipH="1">
                <a:off x="-4568761" y="61135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>
              <a:xfrm flipH="1">
                <a:off x="-4568761" y="76419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flipH="1">
                <a:off x="-4568761" y="91702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 flipH="1">
                <a:off x="-4568761" y="106986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>
              <a:xfrm flipH="1">
                <a:off x="-4568761" y="122270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>
              <a:xfrm flipH="1">
                <a:off x="-4568761" y="137554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 flipH="1">
                <a:off x="-4568761" y="152838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>
              <a:xfrm flipH="1">
                <a:off x="-4568761" y="168121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 flipH="1">
                <a:off x="-4568761" y="183405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 flipH="1">
                <a:off x="-4568761" y="198689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 flipH="1">
                <a:off x="-4568761" y="213973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 userDrawn="1"/>
            </p:nvCxnSpPr>
            <p:spPr>
              <a:xfrm flipH="1">
                <a:off x="-4568761" y="229257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 flipH="1">
                <a:off x="-4568761" y="244540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 userDrawn="1"/>
            </p:nvCxnSpPr>
            <p:spPr>
              <a:xfrm flipH="1">
                <a:off x="-4568761" y="259824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 flipH="1">
                <a:off x="-4568761" y="275108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 flipH="1">
                <a:off x="-4568761" y="290392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 flipH="1">
                <a:off x="-4568761" y="305676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 flipH="1">
                <a:off x="-4568761" y="320959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 flipH="1">
                <a:off x="-4568761" y="336243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 flipH="1">
                <a:off x="-4568761" y="351527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 flipH="1">
                <a:off x="-4568761" y="366811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 flipH="1">
                <a:off x="-4568761" y="382095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 flipH="1">
                <a:off x="-4568761" y="397378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 flipH="1">
                <a:off x="-4568761" y="412662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 flipH="1">
                <a:off x="-4568761" y="427946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 flipH="1">
                <a:off x="-4568761" y="443817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 flipH="1">
                <a:off x="-4568761" y="459100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 flipH="1">
                <a:off x="-4568761" y="474384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 flipH="1">
                <a:off x="-4568761" y="489668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oup 7"/>
          <p:cNvGrpSpPr/>
          <p:nvPr userDrawn="1"/>
        </p:nvGrpSpPr>
        <p:grpSpPr>
          <a:xfrm>
            <a:off x="371223" y="1007106"/>
            <a:ext cx="1065707" cy="1126383"/>
            <a:chOff x="-3330575" y="3005138"/>
            <a:chExt cx="1533526" cy="1620837"/>
          </a:xfrm>
          <a:solidFill>
            <a:schemeClr val="accent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-3330575" y="3005138"/>
              <a:ext cx="1233488" cy="1620837"/>
            </a:xfrm>
            <a:custGeom>
              <a:avLst/>
              <a:gdLst>
                <a:gd name="T0" fmla="*/ 621 w 777"/>
                <a:gd name="T1" fmla="*/ 0 h 1021"/>
                <a:gd name="T2" fmla="*/ 0 w 777"/>
                <a:gd name="T3" fmla="*/ 1021 h 1021"/>
                <a:gd name="T4" fmla="*/ 621 w 777"/>
                <a:gd name="T5" fmla="*/ 1021 h 1021"/>
                <a:gd name="T6" fmla="*/ 777 w 777"/>
                <a:gd name="T7" fmla="*/ 785 h 1021"/>
                <a:gd name="T8" fmla="*/ 231 w 777"/>
                <a:gd name="T9" fmla="*/ 785 h 1021"/>
                <a:gd name="T10" fmla="*/ 699 w 777"/>
                <a:gd name="T11" fmla="*/ 0 h 1021"/>
                <a:gd name="T12" fmla="*/ 621 w 777"/>
                <a:gd name="T13" fmla="*/ 0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7" h="1021">
                  <a:moveTo>
                    <a:pt x="621" y="0"/>
                  </a:moveTo>
                  <a:lnTo>
                    <a:pt x="0" y="1021"/>
                  </a:lnTo>
                  <a:lnTo>
                    <a:pt x="621" y="1021"/>
                  </a:lnTo>
                  <a:lnTo>
                    <a:pt x="777" y="785"/>
                  </a:lnTo>
                  <a:lnTo>
                    <a:pt x="231" y="785"/>
                  </a:lnTo>
                  <a:lnTo>
                    <a:pt x="699" y="0"/>
                  </a:lnTo>
                  <a:lnTo>
                    <a:pt x="6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-2611437" y="3005138"/>
              <a:ext cx="814388" cy="1136650"/>
            </a:xfrm>
            <a:custGeom>
              <a:avLst/>
              <a:gdLst>
                <a:gd name="T0" fmla="*/ 435 w 513"/>
                <a:gd name="T1" fmla="*/ 0 h 716"/>
                <a:gd name="T2" fmla="*/ 513 w 513"/>
                <a:gd name="T3" fmla="*/ 0 h 716"/>
                <a:gd name="T4" fmla="*/ 78 w 513"/>
                <a:gd name="T5" fmla="*/ 716 h 716"/>
                <a:gd name="T6" fmla="*/ 0 w 513"/>
                <a:gd name="T7" fmla="*/ 716 h 716"/>
                <a:gd name="T8" fmla="*/ 435 w 513"/>
                <a:gd name="T9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716">
                  <a:moveTo>
                    <a:pt x="435" y="0"/>
                  </a:moveTo>
                  <a:lnTo>
                    <a:pt x="513" y="0"/>
                  </a:lnTo>
                  <a:lnTo>
                    <a:pt x="78" y="716"/>
                  </a:lnTo>
                  <a:lnTo>
                    <a:pt x="0" y="716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6302096" y="2481426"/>
            <a:ext cx="1042539" cy="1128589"/>
            <a:chOff x="2301081" y="6662108"/>
            <a:chExt cx="1500188" cy="1624012"/>
          </a:xfrm>
          <a:solidFill>
            <a:schemeClr val="accent1"/>
          </a:solidFill>
        </p:grpSpPr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2551906" y="6662108"/>
              <a:ext cx="1249363" cy="393700"/>
            </a:xfrm>
            <a:custGeom>
              <a:avLst/>
              <a:gdLst>
                <a:gd name="T0" fmla="*/ 402 w 787"/>
                <a:gd name="T1" fmla="*/ 248 h 248"/>
                <a:gd name="T2" fmla="*/ 633 w 787"/>
                <a:gd name="T3" fmla="*/ 248 h 248"/>
                <a:gd name="T4" fmla="*/ 787 w 787"/>
                <a:gd name="T5" fmla="*/ 0 h 248"/>
                <a:gd name="T6" fmla="*/ 151 w 787"/>
                <a:gd name="T7" fmla="*/ 0 h 248"/>
                <a:gd name="T8" fmla="*/ 0 w 787"/>
                <a:gd name="T9" fmla="*/ 246 h 248"/>
                <a:gd name="T10" fmla="*/ 402 w 787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7" h="248">
                  <a:moveTo>
                    <a:pt x="402" y="248"/>
                  </a:moveTo>
                  <a:lnTo>
                    <a:pt x="633" y="248"/>
                  </a:lnTo>
                  <a:lnTo>
                    <a:pt x="787" y="0"/>
                  </a:lnTo>
                  <a:lnTo>
                    <a:pt x="151" y="0"/>
                  </a:lnTo>
                  <a:lnTo>
                    <a:pt x="0" y="246"/>
                  </a:lnTo>
                  <a:lnTo>
                    <a:pt x="402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2683669" y="7162170"/>
              <a:ext cx="809625" cy="1123950"/>
            </a:xfrm>
            <a:custGeom>
              <a:avLst/>
              <a:gdLst>
                <a:gd name="T0" fmla="*/ 435 w 510"/>
                <a:gd name="T1" fmla="*/ 0 h 708"/>
                <a:gd name="T2" fmla="*/ 510 w 510"/>
                <a:gd name="T3" fmla="*/ 0 h 708"/>
                <a:gd name="T4" fmla="*/ 78 w 510"/>
                <a:gd name="T5" fmla="*/ 708 h 708"/>
                <a:gd name="T6" fmla="*/ 0 w 510"/>
                <a:gd name="T7" fmla="*/ 708 h 708"/>
                <a:gd name="T8" fmla="*/ 435 w 510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708">
                  <a:moveTo>
                    <a:pt x="435" y="0"/>
                  </a:moveTo>
                  <a:lnTo>
                    <a:pt x="510" y="0"/>
                  </a:lnTo>
                  <a:lnTo>
                    <a:pt x="78" y="708"/>
                  </a:lnTo>
                  <a:lnTo>
                    <a:pt x="0" y="708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2301081" y="7162170"/>
              <a:ext cx="803275" cy="1123950"/>
            </a:xfrm>
            <a:custGeom>
              <a:avLst/>
              <a:gdLst>
                <a:gd name="T0" fmla="*/ 430 w 506"/>
                <a:gd name="T1" fmla="*/ 0 h 708"/>
                <a:gd name="T2" fmla="*/ 506 w 506"/>
                <a:gd name="T3" fmla="*/ 0 h 708"/>
                <a:gd name="T4" fmla="*/ 76 w 506"/>
                <a:gd name="T5" fmla="*/ 708 h 708"/>
                <a:gd name="T6" fmla="*/ 0 w 506"/>
                <a:gd name="T7" fmla="*/ 708 h 708"/>
                <a:gd name="T8" fmla="*/ 430 w 506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6" h="708">
                  <a:moveTo>
                    <a:pt x="430" y="0"/>
                  </a:moveTo>
                  <a:lnTo>
                    <a:pt x="506" y="0"/>
                  </a:lnTo>
                  <a:lnTo>
                    <a:pt x="76" y="708"/>
                  </a:lnTo>
                  <a:lnTo>
                    <a:pt x="0" y="708"/>
                  </a:lnTo>
                  <a:lnTo>
                    <a:pt x="4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sp>
        <p:nvSpPr>
          <p:cNvPr id="16" name="Parallelogram 5"/>
          <p:cNvSpPr/>
          <p:nvPr userDrawn="1"/>
        </p:nvSpPr>
        <p:spPr>
          <a:xfrm rot="10800000">
            <a:off x="7435185" y="-2"/>
            <a:ext cx="4764740" cy="6656539"/>
          </a:xfrm>
          <a:custGeom>
            <a:avLst/>
            <a:gdLst>
              <a:gd name="connsiteX0" fmla="*/ 0 w 5265174"/>
              <a:gd name="connsiteY0" fmla="*/ 4876397 h 4876397"/>
              <a:gd name="connsiteX1" fmla="*/ 0 w 5265174"/>
              <a:gd name="connsiteY1" fmla="*/ 0 h 4876397"/>
              <a:gd name="connsiteX2" fmla="*/ 5265174 w 5265174"/>
              <a:gd name="connsiteY2" fmla="*/ 0 h 4876397"/>
              <a:gd name="connsiteX3" fmla="*/ 5265174 w 5265174"/>
              <a:gd name="connsiteY3" fmla="*/ 4876397 h 4876397"/>
              <a:gd name="connsiteX4" fmla="*/ 0 w 5265174"/>
              <a:gd name="connsiteY4" fmla="*/ 4876397 h 4876397"/>
              <a:gd name="connsiteX0" fmla="*/ 0 w 5265174"/>
              <a:gd name="connsiteY0" fmla="*/ 4876397 h 4891145"/>
              <a:gd name="connsiteX1" fmla="*/ 0 w 5265174"/>
              <a:gd name="connsiteY1" fmla="*/ 0 h 4891145"/>
              <a:gd name="connsiteX2" fmla="*/ 5265174 w 5265174"/>
              <a:gd name="connsiteY2" fmla="*/ 0 h 4891145"/>
              <a:gd name="connsiteX3" fmla="*/ 1504335 w 5265174"/>
              <a:gd name="connsiteY3" fmla="*/ 4891145 h 4891145"/>
              <a:gd name="connsiteX4" fmla="*/ 0 w 5265174"/>
              <a:gd name="connsiteY4" fmla="*/ 4876397 h 4891145"/>
              <a:gd name="connsiteX0" fmla="*/ 0 w 5265174"/>
              <a:gd name="connsiteY0" fmla="*/ 4876397 h 4891145"/>
              <a:gd name="connsiteX1" fmla="*/ 0 w 5265174"/>
              <a:gd name="connsiteY1" fmla="*/ 0 h 4891145"/>
              <a:gd name="connsiteX2" fmla="*/ 5265174 w 5265174"/>
              <a:gd name="connsiteY2" fmla="*/ 0 h 4891145"/>
              <a:gd name="connsiteX3" fmla="*/ 545690 w 5265174"/>
              <a:gd name="connsiteY3" fmla="*/ 4891145 h 4891145"/>
              <a:gd name="connsiteX4" fmla="*/ 0 w 5265174"/>
              <a:gd name="connsiteY4" fmla="*/ 4876397 h 4891145"/>
              <a:gd name="connsiteX0" fmla="*/ 0 w 5265174"/>
              <a:gd name="connsiteY0" fmla="*/ 4876397 h 4891145"/>
              <a:gd name="connsiteX1" fmla="*/ 0 w 5265174"/>
              <a:gd name="connsiteY1" fmla="*/ 0 h 4891145"/>
              <a:gd name="connsiteX2" fmla="*/ 5265174 w 5265174"/>
              <a:gd name="connsiteY2" fmla="*/ 0 h 4891145"/>
              <a:gd name="connsiteX3" fmla="*/ 796413 w 5265174"/>
              <a:gd name="connsiteY3" fmla="*/ 4891145 h 4891145"/>
              <a:gd name="connsiteX4" fmla="*/ 0 w 5265174"/>
              <a:gd name="connsiteY4" fmla="*/ 4876397 h 4891145"/>
              <a:gd name="connsiteX0" fmla="*/ 0 w 3347884"/>
              <a:gd name="connsiteY0" fmla="*/ 4905894 h 4920642"/>
              <a:gd name="connsiteX1" fmla="*/ 0 w 3347884"/>
              <a:gd name="connsiteY1" fmla="*/ 29497 h 4920642"/>
              <a:gd name="connsiteX2" fmla="*/ 3347884 w 3347884"/>
              <a:gd name="connsiteY2" fmla="*/ 0 h 4920642"/>
              <a:gd name="connsiteX3" fmla="*/ 796413 w 3347884"/>
              <a:gd name="connsiteY3" fmla="*/ 4920642 h 4920642"/>
              <a:gd name="connsiteX4" fmla="*/ 0 w 3347884"/>
              <a:gd name="connsiteY4" fmla="*/ 4905894 h 4920642"/>
              <a:gd name="connsiteX0" fmla="*/ 0 w 3569109"/>
              <a:gd name="connsiteY0" fmla="*/ 4876397 h 4891145"/>
              <a:gd name="connsiteX1" fmla="*/ 0 w 3569109"/>
              <a:gd name="connsiteY1" fmla="*/ 0 h 4891145"/>
              <a:gd name="connsiteX2" fmla="*/ 3569109 w 3569109"/>
              <a:gd name="connsiteY2" fmla="*/ 0 h 4891145"/>
              <a:gd name="connsiteX3" fmla="*/ 796413 w 3569109"/>
              <a:gd name="connsiteY3" fmla="*/ 4891145 h 4891145"/>
              <a:gd name="connsiteX4" fmla="*/ 0 w 3569109"/>
              <a:gd name="connsiteY4" fmla="*/ 4876397 h 4891145"/>
              <a:gd name="connsiteX0" fmla="*/ 0 w 3614515"/>
              <a:gd name="connsiteY0" fmla="*/ 4899100 h 4913848"/>
              <a:gd name="connsiteX1" fmla="*/ 0 w 3614515"/>
              <a:gd name="connsiteY1" fmla="*/ 22703 h 4913848"/>
              <a:gd name="connsiteX2" fmla="*/ 3614515 w 3614515"/>
              <a:gd name="connsiteY2" fmla="*/ 0 h 4913848"/>
              <a:gd name="connsiteX3" fmla="*/ 796413 w 3614515"/>
              <a:gd name="connsiteY3" fmla="*/ 4913848 h 4913848"/>
              <a:gd name="connsiteX4" fmla="*/ 0 w 3614515"/>
              <a:gd name="connsiteY4" fmla="*/ 4899100 h 4913848"/>
              <a:gd name="connsiteX0" fmla="*/ 0 w 3614515"/>
              <a:gd name="connsiteY0" fmla="*/ 4899100 h 4913848"/>
              <a:gd name="connsiteX1" fmla="*/ 0 w 3614515"/>
              <a:gd name="connsiteY1" fmla="*/ 22703 h 4913848"/>
              <a:gd name="connsiteX2" fmla="*/ 3614515 w 3614515"/>
              <a:gd name="connsiteY2" fmla="*/ 0 h 4913848"/>
              <a:gd name="connsiteX3" fmla="*/ 796413 w 3614515"/>
              <a:gd name="connsiteY3" fmla="*/ 4913848 h 4913848"/>
              <a:gd name="connsiteX4" fmla="*/ 0 w 3614515"/>
              <a:gd name="connsiteY4" fmla="*/ 4899100 h 4913848"/>
              <a:gd name="connsiteX0" fmla="*/ 0 w 3614515"/>
              <a:gd name="connsiteY0" fmla="*/ 4899100 h 4913848"/>
              <a:gd name="connsiteX1" fmla="*/ 0 w 3614515"/>
              <a:gd name="connsiteY1" fmla="*/ 22703 h 4913848"/>
              <a:gd name="connsiteX2" fmla="*/ 3614515 w 3614515"/>
              <a:gd name="connsiteY2" fmla="*/ 0 h 4913848"/>
              <a:gd name="connsiteX3" fmla="*/ 1046146 w 3614515"/>
              <a:gd name="connsiteY3" fmla="*/ 4913848 h 4913848"/>
              <a:gd name="connsiteX4" fmla="*/ 0 w 3614515"/>
              <a:gd name="connsiteY4" fmla="*/ 4899100 h 4913848"/>
              <a:gd name="connsiteX0" fmla="*/ 0 w 3637218"/>
              <a:gd name="connsiteY0" fmla="*/ 4876397 h 4891145"/>
              <a:gd name="connsiteX1" fmla="*/ 0 w 3637218"/>
              <a:gd name="connsiteY1" fmla="*/ 0 h 4891145"/>
              <a:gd name="connsiteX2" fmla="*/ 3637218 w 3637218"/>
              <a:gd name="connsiteY2" fmla="*/ 0 h 4891145"/>
              <a:gd name="connsiteX3" fmla="*/ 1046146 w 3637218"/>
              <a:gd name="connsiteY3" fmla="*/ 4891145 h 4891145"/>
              <a:gd name="connsiteX4" fmla="*/ 0 w 3637218"/>
              <a:gd name="connsiteY4" fmla="*/ 4876397 h 4891145"/>
              <a:gd name="connsiteX0" fmla="*/ 0 w 3617965"/>
              <a:gd name="connsiteY0" fmla="*/ 4884098 h 4898846"/>
              <a:gd name="connsiteX1" fmla="*/ 0 w 3617965"/>
              <a:gd name="connsiteY1" fmla="*/ 7701 h 4898846"/>
              <a:gd name="connsiteX2" fmla="*/ 3617965 w 3617965"/>
              <a:gd name="connsiteY2" fmla="*/ 0 h 4898846"/>
              <a:gd name="connsiteX3" fmla="*/ 1046146 w 3617965"/>
              <a:gd name="connsiteY3" fmla="*/ 4898846 h 4898846"/>
              <a:gd name="connsiteX4" fmla="*/ 0 w 3617965"/>
              <a:gd name="connsiteY4" fmla="*/ 4884098 h 4898846"/>
              <a:gd name="connsiteX0" fmla="*/ 0 w 3617965"/>
              <a:gd name="connsiteY0" fmla="*/ 4884098 h 4898846"/>
              <a:gd name="connsiteX1" fmla="*/ 0 w 3617965"/>
              <a:gd name="connsiteY1" fmla="*/ 11552 h 4898846"/>
              <a:gd name="connsiteX2" fmla="*/ 3617965 w 3617965"/>
              <a:gd name="connsiteY2" fmla="*/ 0 h 4898846"/>
              <a:gd name="connsiteX3" fmla="*/ 1046146 w 3617965"/>
              <a:gd name="connsiteY3" fmla="*/ 4898846 h 4898846"/>
              <a:gd name="connsiteX4" fmla="*/ 0 w 3617965"/>
              <a:gd name="connsiteY4" fmla="*/ 4884098 h 4898846"/>
              <a:gd name="connsiteX0" fmla="*/ 0 w 3617965"/>
              <a:gd name="connsiteY0" fmla="*/ 4907201 h 4907201"/>
              <a:gd name="connsiteX1" fmla="*/ 0 w 3617965"/>
              <a:gd name="connsiteY1" fmla="*/ 11552 h 4907201"/>
              <a:gd name="connsiteX2" fmla="*/ 3617965 w 3617965"/>
              <a:gd name="connsiteY2" fmla="*/ 0 h 4907201"/>
              <a:gd name="connsiteX3" fmla="*/ 1046146 w 3617965"/>
              <a:gd name="connsiteY3" fmla="*/ 4898846 h 4907201"/>
              <a:gd name="connsiteX4" fmla="*/ 0 w 3617965"/>
              <a:gd name="connsiteY4" fmla="*/ 4907201 h 4907201"/>
              <a:gd name="connsiteX0" fmla="*/ 0 w 3617965"/>
              <a:gd name="connsiteY0" fmla="*/ 4907201 h 4907201"/>
              <a:gd name="connsiteX1" fmla="*/ 0 w 3617965"/>
              <a:gd name="connsiteY1" fmla="*/ 11552 h 4907201"/>
              <a:gd name="connsiteX2" fmla="*/ 3617965 w 3617965"/>
              <a:gd name="connsiteY2" fmla="*/ 0 h 4907201"/>
              <a:gd name="connsiteX3" fmla="*/ 1042296 w 3617965"/>
              <a:gd name="connsiteY3" fmla="*/ 4906547 h 4907201"/>
              <a:gd name="connsiteX4" fmla="*/ 0 w 3617965"/>
              <a:gd name="connsiteY4" fmla="*/ 4907201 h 4907201"/>
              <a:gd name="connsiteX0" fmla="*/ 0 w 3617965"/>
              <a:gd name="connsiteY0" fmla="*/ 4923791 h 4923791"/>
              <a:gd name="connsiteX1" fmla="*/ 0 w 3617965"/>
              <a:gd name="connsiteY1" fmla="*/ 0 h 4923791"/>
              <a:gd name="connsiteX2" fmla="*/ 3617965 w 3617965"/>
              <a:gd name="connsiteY2" fmla="*/ 16590 h 4923791"/>
              <a:gd name="connsiteX3" fmla="*/ 1042296 w 3617965"/>
              <a:gd name="connsiteY3" fmla="*/ 4923137 h 4923791"/>
              <a:gd name="connsiteX4" fmla="*/ 0 w 3617965"/>
              <a:gd name="connsiteY4" fmla="*/ 4923791 h 4923791"/>
              <a:gd name="connsiteX0" fmla="*/ 0 w 3617965"/>
              <a:gd name="connsiteY0" fmla="*/ 4923791 h 4923791"/>
              <a:gd name="connsiteX1" fmla="*/ 0 w 3617965"/>
              <a:gd name="connsiteY1" fmla="*/ 0 h 4923791"/>
              <a:gd name="connsiteX2" fmla="*/ 3617965 w 3617965"/>
              <a:gd name="connsiteY2" fmla="*/ 16590 h 4923791"/>
              <a:gd name="connsiteX3" fmla="*/ 1054436 w 3617965"/>
              <a:gd name="connsiteY3" fmla="*/ 4923137 h 4923791"/>
              <a:gd name="connsiteX4" fmla="*/ 0 w 3617965"/>
              <a:gd name="connsiteY4" fmla="*/ 4923791 h 4923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7965" h="4923791">
                <a:moveTo>
                  <a:pt x="0" y="4923791"/>
                </a:moveTo>
                <a:lnTo>
                  <a:pt x="0" y="0"/>
                </a:lnTo>
                <a:lnTo>
                  <a:pt x="3617965" y="16590"/>
                </a:lnTo>
                <a:lnTo>
                  <a:pt x="1054436" y="4923137"/>
                </a:lnTo>
                <a:lnTo>
                  <a:pt x="0" y="4923791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393"/>
            <a:endParaRPr lang="en-US" sz="1797">
              <a:solidFill>
                <a:prstClr val="white"/>
              </a:solidFill>
            </a:endParaRPr>
          </a:p>
        </p:txBody>
      </p:sp>
      <p:sp>
        <p:nvSpPr>
          <p:cNvPr id="17" name="Rectangle 2"/>
          <p:cNvSpPr/>
          <p:nvPr userDrawn="1"/>
        </p:nvSpPr>
        <p:spPr>
          <a:xfrm rot="1617703">
            <a:off x="8699870" y="-513075"/>
            <a:ext cx="410509" cy="7667075"/>
          </a:xfrm>
          <a:custGeom>
            <a:avLst/>
            <a:gdLst>
              <a:gd name="connsiteX0" fmla="*/ 0 w 382137"/>
              <a:gd name="connsiteY0" fmla="*/ 0 h 5595822"/>
              <a:gd name="connsiteX1" fmla="*/ 382137 w 382137"/>
              <a:gd name="connsiteY1" fmla="*/ 0 h 5595822"/>
              <a:gd name="connsiteX2" fmla="*/ 382137 w 382137"/>
              <a:gd name="connsiteY2" fmla="*/ 5595822 h 5595822"/>
              <a:gd name="connsiteX3" fmla="*/ 0 w 382137"/>
              <a:gd name="connsiteY3" fmla="*/ 5595822 h 5595822"/>
              <a:gd name="connsiteX4" fmla="*/ 0 w 382137"/>
              <a:gd name="connsiteY4" fmla="*/ 0 h 5595822"/>
              <a:gd name="connsiteX0" fmla="*/ 0 w 382137"/>
              <a:gd name="connsiteY0" fmla="*/ 0 h 5705302"/>
              <a:gd name="connsiteX1" fmla="*/ 382137 w 382137"/>
              <a:gd name="connsiteY1" fmla="*/ 0 h 5705302"/>
              <a:gd name="connsiteX2" fmla="*/ 382137 w 382137"/>
              <a:gd name="connsiteY2" fmla="*/ 5595822 h 5705302"/>
              <a:gd name="connsiteX3" fmla="*/ 55691 w 382137"/>
              <a:gd name="connsiteY3" fmla="*/ 5705302 h 5705302"/>
              <a:gd name="connsiteX4" fmla="*/ 0 w 382137"/>
              <a:gd name="connsiteY4" fmla="*/ 0 h 5705302"/>
              <a:gd name="connsiteX0" fmla="*/ 0 w 382137"/>
              <a:gd name="connsiteY0" fmla="*/ 0 h 5705302"/>
              <a:gd name="connsiteX1" fmla="*/ 382137 w 382137"/>
              <a:gd name="connsiteY1" fmla="*/ 0 h 5705302"/>
              <a:gd name="connsiteX2" fmla="*/ 382137 w 382137"/>
              <a:gd name="connsiteY2" fmla="*/ 5595821 h 5705302"/>
              <a:gd name="connsiteX3" fmla="*/ 55691 w 382137"/>
              <a:gd name="connsiteY3" fmla="*/ 5705302 h 5705302"/>
              <a:gd name="connsiteX4" fmla="*/ 0 w 382137"/>
              <a:gd name="connsiteY4" fmla="*/ 0 h 5705302"/>
              <a:gd name="connsiteX0" fmla="*/ 292156 w 326446"/>
              <a:gd name="connsiteY0" fmla="*/ 0 h 5713813"/>
              <a:gd name="connsiteX1" fmla="*/ 326446 w 326446"/>
              <a:gd name="connsiteY1" fmla="*/ 8511 h 5713813"/>
              <a:gd name="connsiteX2" fmla="*/ 326446 w 326446"/>
              <a:gd name="connsiteY2" fmla="*/ 5604332 h 5713813"/>
              <a:gd name="connsiteX3" fmla="*/ 0 w 326446"/>
              <a:gd name="connsiteY3" fmla="*/ 5713813 h 5713813"/>
              <a:gd name="connsiteX4" fmla="*/ 292156 w 326446"/>
              <a:gd name="connsiteY4" fmla="*/ 0 h 5713813"/>
              <a:gd name="connsiteX0" fmla="*/ 292156 w 326446"/>
              <a:gd name="connsiteY0" fmla="*/ 0 h 5713813"/>
              <a:gd name="connsiteX1" fmla="*/ 326446 w 326446"/>
              <a:gd name="connsiteY1" fmla="*/ 8511 h 5713813"/>
              <a:gd name="connsiteX2" fmla="*/ 301907 w 326446"/>
              <a:gd name="connsiteY2" fmla="*/ 5586190 h 5713813"/>
              <a:gd name="connsiteX3" fmla="*/ 0 w 326446"/>
              <a:gd name="connsiteY3" fmla="*/ 5713813 h 5713813"/>
              <a:gd name="connsiteX4" fmla="*/ 292156 w 326446"/>
              <a:gd name="connsiteY4" fmla="*/ 0 h 5713813"/>
              <a:gd name="connsiteX0" fmla="*/ 292156 w 326446"/>
              <a:gd name="connsiteY0" fmla="*/ 0 h 5713813"/>
              <a:gd name="connsiteX1" fmla="*/ 326446 w 326446"/>
              <a:gd name="connsiteY1" fmla="*/ 8511 h 5713813"/>
              <a:gd name="connsiteX2" fmla="*/ 320259 w 326446"/>
              <a:gd name="connsiteY2" fmla="*/ 5592167 h 5713813"/>
              <a:gd name="connsiteX3" fmla="*/ 0 w 326446"/>
              <a:gd name="connsiteY3" fmla="*/ 5713813 h 5713813"/>
              <a:gd name="connsiteX4" fmla="*/ 292156 w 326446"/>
              <a:gd name="connsiteY4" fmla="*/ 0 h 5713813"/>
              <a:gd name="connsiteX0" fmla="*/ 273592 w 307882"/>
              <a:gd name="connsiteY0" fmla="*/ 0 h 5750306"/>
              <a:gd name="connsiteX1" fmla="*/ 307882 w 307882"/>
              <a:gd name="connsiteY1" fmla="*/ 8511 h 5750306"/>
              <a:gd name="connsiteX2" fmla="*/ 301695 w 307882"/>
              <a:gd name="connsiteY2" fmla="*/ 5592167 h 5750306"/>
              <a:gd name="connsiteX3" fmla="*/ 0 w 307882"/>
              <a:gd name="connsiteY3" fmla="*/ 5750306 h 5750306"/>
              <a:gd name="connsiteX4" fmla="*/ 273592 w 307882"/>
              <a:gd name="connsiteY4" fmla="*/ 0 h 5750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882" h="5750306">
                <a:moveTo>
                  <a:pt x="273592" y="0"/>
                </a:moveTo>
                <a:lnTo>
                  <a:pt x="307882" y="8511"/>
                </a:lnTo>
                <a:cubicBezTo>
                  <a:pt x="305820" y="1869730"/>
                  <a:pt x="303757" y="3730948"/>
                  <a:pt x="301695" y="5592167"/>
                </a:cubicBezTo>
                <a:lnTo>
                  <a:pt x="0" y="5750306"/>
                </a:lnTo>
                <a:lnTo>
                  <a:pt x="27359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314" y="4872689"/>
            <a:ext cx="4858623" cy="46357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IN" dirty="0"/>
              <a:t>Nam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08314" y="5479295"/>
            <a:ext cx="4858623" cy="46357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IN" dirty="0"/>
              <a:t>Designation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5" y="3827879"/>
            <a:ext cx="3206611" cy="767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868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9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41" name="Straight Connector 40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06400" y="889000"/>
            <a:ext cx="11379200" cy="5588000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 dirty="0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 dirty="0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 dirty="0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 dirty="0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 dirty="0"/>
              <a:t>Fifth leve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2279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roup 92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94" name="Group 93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124" name="Straight Connector 123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5" name="Straight Connector 94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1" y="279400"/>
            <a:ext cx="7279339" cy="438056"/>
          </a:xfrm>
          <a:prstGeom prst="rect">
            <a:avLst/>
          </a:prstGeom>
        </p:spPr>
        <p:txBody>
          <a:bodyPr lIns="82501" tIns="41288" rIns="82501" bIns="41288"/>
          <a:lstStyle>
            <a:lvl1pPr algn="r">
              <a:defRPr lang="en-US" sz="2933" b="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61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433388"/>
            <a:ext cx="10668000" cy="579437"/>
          </a:xfrm>
          <a:prstGeom prst="rect">
            <a:avLst/>
          </a:prstGeom>
        </p:spPr>
        <p:txBody>
          <a:bodyPr lIns="91366" tIns="45683" rIns="91366" bIns="4568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284" y="1387475"/>
            <a:ext cx="10606616" cy="4191000"/>
          </a:xfrm>
          <a:prstGeom prst="rect">
            <a:avLst/>
          </a:prstGeom>
        </p:spPr>
        <p:txBody>
          <a:bodyPr lIns="91366" tIns="45683" rIns="91366" bIns="4568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41942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roup 91"/>
          <p:cNvGrpSpPr/>
          <p:nvPr userDrawn="1"/>
        </p:nvGrpSpPr>
        <p:grpSpPr>
          <a:xfrm>
            <a:off x="0" y="716169"/>
            <a:ext cx="12192000" cy="5896666"/>
            <a:chOff x="0" y="596900"/>
            <a:chExt cx="9144000" cy="4344751"/>
          </a:xfrm>
        </p:grpSpPr>
        <p:grpSp>
          <p:nvGrpSpPr>
            <p:cNvPr id="93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123" name="Straight Connector 122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4" name="Straight Connector 93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3532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roup 91"/>
          <p:cNvGrpSpPr/>
          <p:nvPr userDrawn="1"/>
        </p:nvGrpSpPr>
        <p:grpSpPr>
          <a:xfrm>
            <a:off x="0" y="755926"/>
            <a:ext cx="12192000" cy="5843657"/>
            <a:chOff x="0" y="596900"/>
            <a:chExt cx="9144000" cy="4344751"/>
          </a:xfrm>
        </p:grpSpPr>
        <p:grpSp>
          <p:nvGrpSpPr>
            <p:cNvPr id="93" name="Group 92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213" name="Straight Connector 212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Straight Connector 227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Straight Connector 228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Straight Connector 229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234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235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236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237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238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Straight Connector 242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Straight Connector 244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Straight Connector 245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Straight Connector 248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Straight Connector 251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0" name="Straight Connector 259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Straight Connector 260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Straight Connector 262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Straight Connector 263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Straight Connector 267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Straight Connector 268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4" name="Straight Connector 93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96056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40332"/>
            <a:ext cx="12192000" cy="174430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796946" y="1682643"/>
            <a:ext cx="10363200" cy="4388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3333" spc="119" baseline="0"/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1287" y="2212533"/>
            <a:ext cx="8534400" cy="6870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157" spc="119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7558" y="5860682"/>
            <a:ext cx="2723464" cy="37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8" name="Picture 2" descr="pegasystems logo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988" y="5463434"/>
            <a:ext cx="1566173" cy="1173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2480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796946" y="3216276"/>
            <a:ext cx="10363200" cy="4388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3333" spc="119" baseline="0"/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1287" y="3746164"/>
            <a:ext cx="8534400" cy="6870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157" spc="119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7558" y="5860682"/>
            <a:ext cx="2723464" cy="37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543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SUB HEADS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7"/>
          </p:nvPr>
        </p:nvSpPr>
        <p:spPr>
          <a:xfrm>
            <a:off x="6462260" y="1246028"/>
            <a:ext cx="5032184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8"/>
          </p:nvPr>
        </p:nvSpPr>
        <p:spPr>
          <a:xfrm>
            <a:off x="6462260" y="2030218"/>
            <a:ext cx="5032184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695618" y="1246028"/>
            <a:ext cx="5025946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9"/>
          </p:nvPr>
        </p:nvSpPr>
        <p:spPr>
          <a:xfrm>
            <a:off x="695618" y="2030218"/>
            <a:ext cx="5025946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847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" name="Group 149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88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10" name="Straight Connector 9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0" name="Straight Connector 89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06400" y="889000"/>
            <a:ext cx="11379200" cy="5588000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>
              <a:buFontTx/>
              <a:buBlip>
                <a:blip r:embed="rId2"/>
              </a:buBlip>
            </a:pPr>
            <a:r>
              <a:rPr lang="en-US" dirty="0"/>
              <a:t>Click to edit Master text styles</a:t>
            </a:r>
          </a:p>
          <a:p>
            <a:pPr lvl="1">
              <a:buFontTx/>
              <a:buBlip>
                <a:blip r:embed="rId2"/>
              </a:buBlip>
            </a:pPr>
            <a:r>
              <a:rPr lang="en-US" dirty="0"/>
              <a:t>Second level</a:t>
            </a:r>
          </a:p>
          <a:p>
            <a:pPr lvl="2">
              <a:buFontTx/>
              <a:buBlip>
                <a:blip r:embed="rId2"/>
              </a:buBlip>
            </a:pPr>
            <a:r>
              <a:rPr lang="en-US" dirty="0"/>
              <a:t>Third level</a:t>
            </a:r>
          </a:p>
          <a:p>
            <a:pPr lvl="3">
              <a:buFontTx/>
              <a:buBlip>
                <a:blip r:embed="rId2"/>
              </a:buBlip>
            </a:pPr>
            <a:r>
              <a:rPr lang="en-US" dirty="0"/>
              <a:t>Fourth level</a:t>
            </a:r>
          </a:p>
          <a:p>
            <a:pPr lvl="4">
              <a:buFontTx/>
              <a:buBlip>
                <a:blip r:embed="rId2"/>
              </a:buBlip>
            </a:pPr>
            <a:r>
              <a:rPr lang="en-US" dirty="0"/>
              <a:t>Fifth leve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612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692745" y="1250462"/>
            <a:ext cx="5028819" cy="4399823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6466619" y="1250462"/>
            <a:ext cx="5027826" cy="4399823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266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SUB HEADS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5"/>
          </p:nvPr>
        </p:nvSpPr>
        <p:spPr>
          <a:xfrm>
            <a:off x="6469037" y="1250463"/>
            <a:ext cx="5257296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95618" y="1246028"/>
            <a:ext cx="5025946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4"/>
          </p:nvPr>
        </p:nvSpPr>
        <p:spPr>
          <a:xfrm>
            <a:off x="695618" y="2030218"/>
            <a:ext cx="5025946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366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SUBHEAD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6"/>
          </p:nvPr>
        </p:nvSpPr>
        <p:spPr>
          <a:xfrm>
            <a:off x="465668" y="1229669"/>
            <a:ext cx="5253840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6462260" y="1246028"/>
            <a:ext cx="5032184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462260" y="2030218"/>
            <a:ext cx="5032184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07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6"/>
          </p:nvPr>
        </p:nvSpPr>
        <p:spPr>
          <a:xfrm>
            <a:off x="6469037" y="1250463"/>
            <a:ext cx="5257296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92745" y="1250462"/>
            <a:ext cx="5028819" cy="4399823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81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6"/>
          </p:nvPr>
        </p:nvSpPr>
        <p:spPr>
          <a:xfrm>
            <a:off x="465668" y="1229669"/>
            <a:ext cx="5253840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/>
          </p:nvPr>
        </p:nvSpPr>
        <p:spPr>
          <a:xfrm>
            <a:off x="6466619" y="1250462"/>
            <a:ext cx="5027826" cy="4399823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309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UBHEAD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2"/>
          </p:nvPr>
        </p:nvSpPr>
        <p:spPr>
          <a:xfrm>
            <a:off x="695836" y="1256640"/>
            <a:ext cx="3213651" cy="639762"/>
          </a:xfrm>
          <a:prstGeom prst="rect">
            <a:avLst/>
          </a:prstGeom>
        </p:spPr>
        <p:txBody>
          <a:bodyPr lIns="0" tIns="0" rIns="111026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692718" y="2030218"/>
            <a:ext cx="3209936" cy="3638178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4488739" y="1256640"/>
            <a:ext cx="3213651" cy="639762"/>
          </a:xfrm>
          <a:prstGeom prst="rect">
            <a:avLst/>
          </a:prstGeom>
        </p:spPr>
        <p:txBody>
          <a:bodyPr lIns="0" tIns="0" rIns="111026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4485620" y="2030218"/>
            <a:ext cx="3209936" cy="3638178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8287626" y="1256640"/>
            <a:ext cx="3213651" cy="639762"/>
          </a:xfrm>
          <a:prstGeom prst="rect">
            <a:avLst/>
          </a:prstGeom>
        </p:spPr>
        <p:txBody>
          <a:bodyPr lIns="0" tIns="0" rIns="111026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284506" y="2030218"/>
            <a:ext cx="3209936" cy="3638178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74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692718" y="1254126"/>
            <a:ext cx="3209936" cy="4414271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4485620" y="1254126"/>
            <a:ext cx="3209936" cy="4414271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284506" y="1254126"/>
            <a:ext cx="3209936" cy="4414271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2349394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half" idx="19"/>
          </p:nvPr>
        </p:nvSpPr>
        <p:spPr>
          <a:xfrm>
            <a:off x="695617" y="2030218"/>
            <a:ext cx="10798827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695617" y="1246028"/>
            <a:ext cx="10798827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722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9"/>
          </p:nvPr>
        </p:nvSpPr>
        <p:spPr>
          <a:xfrm>
            <a:off x="695617" y="1250846"/>
            <a:ext cx="10798827" cy="4324345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49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695617" y="1250846"/>
            <a:ext cx="10798827" cy="4861030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1785"/>
              </a:spcBef>
              <a:spcAft>
                <a:spcPts val="0"/>
              </a:spcAft>
              <a:buFont typeface="Wingdings" charset="2"/>
              <a:buChar char="§"/>
              <a:defRPr sz="2353" spc="119">
                <a:solidFill>
                  <a:srgbClr val="1D446B"/>
                </a:solidFill>
              </a:defRPr>
            </a:lvl1pPr>
            <a:lvl2pPr marL="536638" indent="-340123">
              <a:lnSpc>
                <a:spcPct val="100000"/>
              </a:lnSpc>
              <a:spcBef>
                <a:spcPts val="715"/>
              </a:spcBef>
              <a:buFont typeface="Arial"/>
              <a:buChar char="•"/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1436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77769"/>
            <a:ext cx="12192000" cy="58036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12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44" name="Straight Connector 43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" name="Straight Connector 12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Title 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06400" y="889000"/>
            <a:ext cx="11379200" cy="5588000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 marL="228589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1pPr>
            <a:lvl2pPr marL="685766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2pPr>
            <a:lvl3pPr marL="1142942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3pPr>
            <a:lvl4pPr marL="1600120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4pPr>
            <a:lvl5pPr marL="2057298" indent="-228589">
              <a:buFontTx/>
              <a:buBlip>
                <a:blip r:embed="rId2"/>
              </a:buBlip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30114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251677"/>
            <a:ext cx="11764434" cy="431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1514866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.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20284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349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111026" tIns="55513" rIns="111026" bIns="55513"/>
          <a:lstStyle>
            <a:lvl1pPr marL="0" marR="0" indent="0" algn="l" defTabSz="544196" rtl="0" eaLnBrk="1" fontAlgn="auto" latinLnBrk="0" hangingPunct="1">
              <a:lnSpc>
                <a:spcPct val="100000"/>
              </a:lnSpc>
              <a:spcBef>
                <a:spcPts val="1428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>
                <a:solidFill>
                  <a:schemeClr val="accent6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6774" y="4390340"/>
            <a:ext cx="8000244" cy="1308711"/>
          </a:xfrm>
          <a:prstGeom prst="rect">
            <a:avLst/>
          </a:prstGeom>
        </p:spPr>
        <p:txBody>
          <a:bodyPr lIns="0" tIns="55513" rIns="0" bIns="0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rgbClr val="519CBB"/>
                </a:solidFill>
                <a:effectLst/>
              </a:defRPr>
            </a:lvl1pPr>
            <a:lvl2pPr marL="544196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353" baseline="0"/>
            </a:lvl2pPr>
            <a:lvl3pPr marL="1088392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157" baseline="0"/>
            </a:lvl3pPr>
            <a:lvl4pPr marL="1632589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4pPr>
            <a:lvl5pPr marL="2176785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846776" y="3717745"/>
            <a:ext cx="10561721" cy="731202"/>
          </a:xfrm>
          <a:prstGeom prst="rect">
            <a:avLst/>
          </a:prstGeom>
        </p:spPr>
        <p:txBody>
          <a:bodyPr lIns="0" tIns="55513" rIns="0" bIns="55513" anchor="b">
            <a:noAutofit/>
          </a:bodyPr>
          <a:lstStyle>
            <a:lvl1pPr algn="l">
              <a:defRPr sz="3823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3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20284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46776" y="4390340"/>
            <a:ext cx="8000244" cy="1308711"/>
          </a:xfrm>
          <a:prstGeom prst="rect">
            <a:avLst/>
          </a:prstGeom>
        </p:spPr>
        <p:txBody>
          <a:bodyPr lIns="0" tIns="55513" rIns="0" bIns="0"/>
          <a:lstStyle>
            <a:lvl1pPr marL="408147" marR="0" indent="-408147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rgbClr val="519CBB"/>
                </a:solidFill>
                <a:effectLst/>
              </a:defRPr>
            </a:lvl1pPr>
            <a:lvl2pPr marL="544196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353" baseline="0"/>
            </a:lvl2pPr>
            <a:lvl3pPr marL="1088392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157" baseline="0"/>
            </a:lvl3pPr>
            <a:lvl4pPr marL="1632589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4pPr>
            <a:lvl5pPr marL="2176785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846776" y="3717745"/>
            <a:ext cx="10561721" cy="731202"/>
          </a:xfrm>
          <a:prstGeom prst="rect">
            <a:avLst/>
          </a:prstGeom>
        </p:spPr>
        <p:txBody>
          <a:bodyPr lIns="0" tIns="55513" rIns="0" bIns="55513" anchor="b">
            <a:noAutofit/>
          </a:bodyPr>
          <a:lstStyle>
            <a:lvl1pPr algn="l">
              <a:defRPr sz="3823">
                <a:solidFill>
                  <a:srgbClr val="1D446B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6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1423706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575734" y="1130300"/>
            <a:ext cx="11040533" cy="0"/>
          </a:xfrm>
          <a:prstGeom prst="line">
            <a:avLst/>
          </a:prstGeom>
          <a:ln w="6350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452967" y="941388"/>
            <a:ext cx="11250084" cy="3857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16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ANS.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43" dirty="0">
              <a:solidFill>
                <a:prstClr val="white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796946" y="1682643"/>
            <a:ext cx="10363200" cy="4388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>
              <a:defRPr sz="3823" spc="119" baseline="0">
                <a:solidFill>
                  <a:srgbClr val="1D446B"/>
                </a:solidFill>
              </a:defRPr>
            </a:lvl1pPr>
          </a:lstStyle>
          <a:p>
            <a:r>
              <a:rPr lang="en-US" dirty="0" smtClean="0"/>
              <a:t>Thank You Slid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7558" y="5860682"/>
            <a:ext cx="2723464" cy="37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928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40332"/>
            <a:ext cx="12192000" cy="174430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796946" y="1682643"/>
            <a:ext cx="10363200" cy="4388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3333" spc="119" baseline="0"/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1287" y="2212533"/>
            <a:ext cx="8534400" cy="6870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157" spc="119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7558" y="5860682"/>
            <a:ext cx="2723464" cy="37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8" name="Picture 2" descr="pegasystems logo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988" y="5463434"/>
            <a:ext cx="1566173" cy="1173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714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796946" y="3216276"/>
            <a:ext cx="10363200" cy="4388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3333" spc="119" baseline="0"/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1287" y="3746164"/>
            <a:ext cx="8534400" cy="6870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157" spc="119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4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7558" y="5860682"/>
            <a:ext cx="2723464" cy="37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8110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SUB HEADS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7"/>
          </p:nvPr>
        </p:nvSpPr>
        <p:spPr>
          <a:xfrm>
            <a:off x="6462260" y="1246028"/>
            <a:ext cx="5032184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8"/>
          </p:nvPr>
        </p:nvSpPr>
        <p:spPr>
          <a:xfrm>
            <a:off x="6462260" y="2030218"/>
            <a:ext cx="5032184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695618" y="1246028"/>
            <a:ext cx="5025946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9"/>
          </p:nvPr>
        </p:nvSpPr>
        <p:spPr>
          <a:xfrm>
            <a:off x="695618" y="2030218"/>
            <a:ext cx="5025946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336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692745" y="1250462"/>
            <a:ext cx="5028819" cy="4399823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6466619" y="1250462"/>
            <a:ext cx="5027826" cy="4399823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79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ey_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77769"/>
            <a:ext cx="12192000" cy="580361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13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45" name="Straight Connector 44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rgbClr val="F2F2F2">
                    <a:alpha val="1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4" name="Straight Connector 13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rgbClr val="F2F2F2">
                  <a:alpha val="12157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Title Text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06400" y="889000"/>
            <a:ext cx="11379200" cy="5588000"/>
          </a:xfrm>
          <a:prstGeom prst="rect">
            <a:avLst/>
          </a:prstGeom>
        </p:spPr>
        <p:txBody>
          <a:bodyPr vert="horz" lIns="68579" tIns="34289" rIns="68579" bIns="34289" rtlCol="0">
            <a:normAutofit/>
          </a:bodyPr>
          <a:lstStyle>
            <a:lvl1pPr marL="228589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1pPr>
            <a:lvl2pPr marL="685766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2pPr>
            <a:lvl3pPr marL="1142942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3pPr>
            <a:lvl4pPr marL="1600120" indent="-228589">
              <a:buFontTx/>
              <a:buBlip>
                <a:blip r:embed="rId2"/>
              </a:buBlip>
              <a:defRPr lang="en-US" smtClean="0">
                <a:solidFill>
                  <a:schemeClr val="bg1"/>
                </a:solidFill>
              </a:defRPr>
            </a:lvl4pPr>
            <a:lvl5pPr marL="2057298" indent="-228589">
              <a:buFontTx/>
              <a:buBlip>
                <a:blip r:embed="rId2"/>
              </a:buBlip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6575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SUB HEADS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5"/>
          </p:nvPr>
        </p:nvSpPr>
        <p:spPr>
          <a:xfrm>
            <a:off x="6469037" y="1250463"/>
            <a:ext cx="5257296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95618" y="1246028"/>
            <a:ext cx="5025946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4"/>
          </p:nvPr>
        </p:nvSpPr>
        <p:spPr>
          <a:xfrm>
            <a:off x="695618" y="2030218"/>
            <a:ext cx="5025946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49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SUBHEAD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6"/>
          </p:nvPr>
        </p:nvSpPr>
        <p:spPr>
          <a:xfrm>
            <a:off x="465668" y="1229669"/>
            <a:ext cx="5253840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6462260" y="1246028"/>
            <a:ext cx="5032184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462260" y="2030218"/>
            <a:ext cx="5032184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917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6"/>
          </p:nvPr>
        </p:nvSpPr>
        <p:spPr>
          <a:xfrm>
            <a:off x="6469037" y="1250463"/>
            <a:ext cx="5257296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92745" y="1250462"/>
            <a:ext cx="5028819" cy="4399823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700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6"/>
          </p:nvPr>
        </p:nvSpPr>
        <p:spPr>
          <a:xfrm>
            <a:off x="465668" y="1229669"/>
            <a:ext cx="5253840" cy="4405923"/>
          </a:xfrm>
          <a:prstGeom prst="rect">
            <a:avLst/>
          </a:prstGeom>
          <a:solidFill>
            <a:srgbClr val="F2F2F2"/>
          </a:solidFill>
        </p:spPr>
        <p:txBody>
          <a:bodyPr lIns="111026" tIns="55513" rIns="111026" bIns="55513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chemeClr val="accent3"/>
                </a:solidFill>
              </a:defRPr>
            </a:lvl1pPr>
            <a:lvl2pPr marL="205964" marR="0" indent="-205964" algn="l" defTabSz="1088392" rtl="0" eaLnBrk="0" fontAlgn="base" latinLnBrk="0" hangingPunct="0">
              <a:lnSpc>
                <a:spcPct val="100000"/>
              </a:lnSpc>
              <a:spcBef>
                <a:spcPts val="1057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2pPr>
            <a:lvl3pPr marL="411926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863" baseline="0"/>
            </a:lvl3pPr>
            <a:lvl4pPr marL="616000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4pPr>
            <a:lvl5pPr marL="821964" marR="0" indent="-205964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charset="2"/>
              <a:buChar char="§"/>
              <a:tabLst/>
              <a:defRPr sz="1470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marL="0" marR="0" lvl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/>
          </p:nvPr>
        </p:nvSpPr>
        <p:spPr>
          <a:xfrm>
            <a:off x="6466619" y="1250462"/>
            <a:ext cx="5027826" cy="4399823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895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UBHEAD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2"/>
          </p:nvPr>
        </p:nvSpPr>
        <p:spPr>
          <a:xfrm>
            <a:off x="695836" y="1256640"/>
            <a:ext cx="3213651" cy="639762"/>
          </a:xfrm>
          <a:prstGeom prst="rect">
            <a:avLst/>
          </a:prstGeom>
        </p:spPr>
        <p:txBody>
          <a:bodyPr lIns="0" tIns="0" rIns="111026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692718" y="2030218"/>
            <a:ext cx="3209936" cy="3638178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4488739" y="1256640"/>
            <a:ext cx="3213651" cy="639762"/>
          </a:xfrm>
          <a:prstGeom prst="rect">
            <a:avLst/>
          </a:prstGeom>
        </p:spPr>
        <p:txBody>
          <a:bodyPr lIns="0" tIns="0" rIns="111026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4485620" y="2030218"/>
            <a:ext cx="3209936" cy="3638178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/>
          </p:nvPr>
        </p:nvSpPr>
        <p:spPr>
          <a:xfrm>
            <a:off x="8287626" y="1256640"/>
            <a:ext cx="3213651" cy="639762"/>
          </a:xfrm>
          <a:prstGeom prst="rect">
            <a:avLst/>
          </a:prstGeom>
        </p:spPr>
        <p:txBody>
          <a:bodyPr lIns="0" tIns="0" rIns="111026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284506" y="2030218"/>
            <a:ext cx="3209936" cy="3638178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194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ULLET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692718" y="1254126"/>
            <a:ext cx="3209936" cy="4414271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4485620" y="1254126"/>
            <a:ext cx="3209936" cy="4414271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8284506" y="1254126"/>
            <a:ext cx="3209936" cy="4414271"/>
          </a:xfrm>
          <a:prstGeom prst="rect">
            <a:avLst/>
          </a:prstGeom>
        </p:spPr>
        <p:txBody>
          <a:bodyPr lIns="0" tIns="0" rIns="111026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1979215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half" idx="19"/>
          </p:nvPr>
        </p:nvSpPr>
        <p:spPr>
          <a:xfrm>
            <a:off x="695617" y="2030218"/>
            <a:ext cx="10798827" cy="3544972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695617" y="1246028"/>
            <a:ext cx="10798827" cy="639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2353" b="0" kern="0" spc="119"/>
            </a:lvl1pPr>
            <a:lvl2pPr marL="544196" indent="0">
              <a:buNone/>
              <a:defRPr sz="2353" b="1"/>
            </a:lvl2pPr>
            <a:lvl3pPr marL="1088392" indent="0">
              <a:buNone/>
              <a:defRPr sz="2157" b="1"/>
            </a:lvl3pPr>
            <a:lvl4pPr marL="1632589" indent="0">
              <a:buNone/>
              <a:defRPr sz="1863" b="1"/>
            </a:lvl4pPr>
            <a:lvl5pPr marL="2176785" indent="0">
              <a:buNone/>
              <a:defRPr sz="1863" b="1"/>
            </a:lvl5pPr>
            <a:lvl6pPr marL="2720980" indent="0">
              <a:buNone/>
              <a:defRPr sz="1863" b="1"/>
            </a:lvl6pPr>
            <a:lvl7pPr marL="3265176" indent="0">
              <a:buNone/>
              <a:defRPr sz="1863" b="1"/>
            </a:lvl7pPr>
            <a:lvl8pPr marL="3809373" indent="0">
              <a:buNone/>
              <a:defRPr sz="1863" b="1"/>
            </a:lvl8pPr>
            <a:lvl9pPr marL="4353569" indent="0">
              <a:buNone/>
              <a:defRPr sz="186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2926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9"/>
          </p:nvPr>
        </p:nvSpPr>
        <p:spPr>
          <a:xfrm>
            <a:off x="695617" y="1250846"/>
            <a:ext cx="10798827" cy="4324345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715"/>
              </a:spcBef>
              <a:buFont typeface="Wingdings" charset="2"/>
              <a:buChar char="§"/>
              <a:defRPr sz="1863">
                <a:solidFill>
                  <a:srgbClr val="565A5B"/>
                </a:solidFill>
              </a:defRPr>
            </a:lvl1pPr>
            <a:lvl2pPr marL="402479" indent="-205964">
              <a:lnSpc>
                <a:spcPct val="100000"/>
              </a:lnSpc>
              <a:spcBef>
                <a:spcPts val="715"/>
              </a:spcBef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945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695617" y="1250846"/>
            <a:ext cx="10798827" cy="4861030"/>
          </a:xfrm>
          <a:prstGeom prst="rect">
            <a:avLst/>
          </a:prstGeom>
        </p:spPr>
        <p:txBody>
          <a:bodyPr lIns="0" tIns="0" rIns="0" bIns="0"/>
          <a:lstStyle>
            <a:lvl1pPr marL="205964" indent="-205964">
              <a:lnSpc>
                <a:spcPct val="100000"/>
              </a:lnSpc>
              <a:spcBef>
                <a:spcPts val="1785"/>
              </a:spcBef>
              <a:spcAft>
                <a:spcPts val="0"/>
              </a:spcAft>
              <a:buFont typeface="Wingdings" charset="2"/>
              <a:buChar char="§"/>
              <a:defRPr sz="2353" spc="119">
                <a:solidFill>
                  <a:srgbClr val="1D446B"/>
                </a:solidFill>
              </a:defRPr>
            </a:lvl1pPr>
            <a:lvl2pPr marL="536638" indent="-340123">
              <a:lnSpc>
                <a:spcPct val="100000"/>
              </a:lnSpc>
              <a:spcBef>
                <a:spcPts val="715"/>
              </a:spcBef>
              <a:buFont typeface="Arial"/>
              <a:buChar char="•"/>
              <a:defRPr sz="1863"/>
            </a:lvl2pPr>
            <a:lvl3pPr marL="614111" indent="-209743">
              <a:lnSpc>
                <a:spcPct val="100000"/>
              </a:lnSpc>
              <a:spcBef>
                <a:spcPts val="715"/>
              </a:spcBef>
              <a:defRPr sz="1863"/>
            </a:lvl3pPr>
            <a:lvl4pPr marL="810626" indent="-209743">
              <a:lnSpc>
                <a:spcPct val="100000"/>
              </a:lnSpc>
              <a:spcBef>
                <a:spcPts val="715"/>
              </a:spcBef>
              <a:defRPr sz="1470"/>
            </a:lvl4pPr>
            <a:lvl5pPr marL="1020368" indent="-209743">
              <a:lnSpc>
                <a:spcPct val="100000"/>
              </a:lnSpc>
              <a:spcBef>
                <a:spcPts val="715"/>
              </a:spcBef>
              <a:defRPr sz="1470"/>
            </a:lvl5pPr>
            <a:lvl6pPr>
              <a:defRPr sz="1863"/>
            </a:lvl6pPr>
            <a:lvl7pPr>
              <a:defRPr sz="1863"/>
            </a:lvl7pPr>
            <a:lvl8pPr>
              <a:defRPr sz="1863"/>
            </a:lvl8pPr>
            <a:lvl9pPr>
              <a:defRPr sz="1863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301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251677"/>
            <a:ext cx="11764434" cy="431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1288567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Full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>
          <a:xfrm>
            <a:off x="0" y="1"/>
            <a:ext cx="12192000" cy="6554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1" y="0"/>
            <a:ext cx="12183353" cy="6553200"/>
            <a:chOff x="-1" y="0"/>
            <a:chExt cx="9137515" cy="4914900"/>
          </a:xfrm>
        </p:grpSpPr>
        <p:grpSp>
          <p:nvGrpSpPr>
            <p:cNvPr id="6" name="Group 87"/>
            <p:cNvGrpSpPr/>
            <p:nvPr userDrawn="1"/>
          </p:nvGrpSpPr>
          <p:grpSpPr>
            <a:xfrm>
              <a:off x="142570" y="6214"/>
              <a:ext cx="8858313" cy="4908686"/>
              <a:chOff x="142672" y="603115"/>
              <a:chExt cx="8864600" cy="4338536"/>
            </a:xfrm>
          </p:grpSpPr>
          <p:cxnSp>
            <p:nvCxnSpPr>
              <p:cNvPr id="43" name="Straight Connector 42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254"/>
            <p:cNvGrpSpPr/>
            <p:nvPr userDrawn="1"/>
          </p:nvGrpSpPr>
          <p:grpSpPr>
            <a:xfrm>
              <a:off x="-1" y="0"/>
              <a:ext cx="9137515" cy="4896684"/>
              <a:chOff x="-4568761" y="0"/>
              <a:chExt cx="13706276" cy="4896684"/>
            </a:xfrm>
          </p:grpSpPr>
          <p:cxnSp>
            <p:nvCxnSpPr>
              <p:cNvPr id="8" name="Straight Connector 7"/>
              <p:cNvCxnSpPr/>
              <p:nvPr userDrawn="1"/>
            </p:nvCxnSpPr>
            <p:spPr>
              <a:xfrm flipH="1">
                <a:off x="-4568761" y="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/>
              <p:cNvCxnSpPr/>
              <p:nvPr userDrawn="1"/>
            </p:nvCxnSpPr>
            <p:spPr>
              <a:xfrm flipH="1">
                <a:off x="-4568761" y="15283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/>
              <p:cNvCxnSpPr/>
              <p:nvPr userDrawn="1"/>
            </p:nvCxnSpPr>
            <p:spPr>
              <a:xfrm flipH="1">
                <a:off x="-4568761" y="30567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 userDrawn="1"/>
            </p:nvCxnSpPr>
            <p:spPr>
              <a:xfrm flipH="1">
                <a:off x="-4568761" y="45851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 flipH="1">
                <a:off x="-4568761" y="61135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 flipH="1">
                <a:off x="-4568761" y="76419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 flipH="1">
                <a:off x="-4568761" y="91702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flipH="1">
                <a:off x="-4568761" y="106986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>
              <a:xfrm flipH="1">
                <a:off x="-4568761" y="122270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>
              <a:xfrm flipH="1">
                <a:off x="-4568761" y="137554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>
              <a:xfrm flipH="1">
                <a:off x="-4568761" y="152838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>
              <a:xfrm flipH="1">
                <a:off x="-4568761" y="168121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 flipH="1">
                <a:off x="-4568761" y="183405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>
              <a:xfrm flipH="1">
                <a:off x="-4568761" y="198689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>
              <a:xfrm flipH="1">
                <a:off x="-4568761" y="213973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>
              <a:xfrm flipH="1">
                <a:off x="-4568761" y="229257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>
              <a:xfrm flipH="1">
                <a:off x="-4568761" y="244540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>
              <a:xfrm flipH="1">
                <a:off x="-4568761" y="259824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>
              <a:xfrm flipH="1">
                <a:off x="-4568761" y="275108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>
              <a:xfrm flipH="1">
                <a:off x="-4568761" y="290392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>
              <a:xfrm flipH="1">
                <a:off x="-4568761" y="305676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>
              <a:xfrm flipH="1">
                <a:off x="-4568761" y="320959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flipH="1">
                <a:off x="-4568761" y="336243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 flipH="1">
                <a:off x="-4568761" y="351527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>
              <a:xfrm flipH="1">
                <a:off x="-4568761" y="366811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>
              <a:xfrm flipH="1">
                <a:off x="-4568761" y="382095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 flipH="1">
                <a:off x="-4568761" y="397378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>
              <a:xfrm flipH="1">
                <a:off x="-4568761" y="412662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 flipH="1">
                <a:off x="-4568761" y="427946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 flipH="1">
                <a:off x="-4568761" y="443817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 flipH="1">
                <a:off x="-4568761" y="459100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 userDrawn="1"/>
            </p:nvCxnSpPr>
            <p:spPr>
              <a:xfrm flipH="1">
                <a:off x="-4568761" y="474384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 flipH="1">
                <a:off x="-4568761" y="489668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14867" y="372533"/>
            <a:ext cx="11328400" cy="56726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695314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.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20284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349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111026" tIns="55513" rIns="111026" bIns="55513"/>
          <a:lstStyle>
            <a:lvl1pPr marL="0" marR="0" indent="0" algn="l" defTabSz="544196" rtl="0" eaLnBrk="1" fontAlgn="auto" latinLnBrk="0" hangingPunct="1">
              <a:lnSpc>
                <a:spcPct val="100000"/>
              </a:lnSpc>
              <a:spcBef>
                <a:spcPts val="1428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>
                <a:solidFill>
                  <a:schemeClr val="accent6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6774" y="4390340"/>
            <a:ext cx="8000244" cy="1308711"/>
          </a:xfrm>
          <a:prstGeom prst="rect">
            <a:avLst/>
          </a:prstGeom>
        </p:spPr>
        <p:txBody>
          <a:bodyPr lIns="0" tIns="55513" rIns="0" bIns="0"/>
          <a:lstStyle>
            <a:lvl1pPr marL="0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rgbClr val="519CBB"/>
                </a:solidFill>
                <a:effectLst/>
              </a:defRPr>
            </a:lvl1pPr>
            <a:lvl2pPr marL="544196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353" baseline="0"/>
            </a:lvl2pPr>
            <a:lvl3pPr marL="1088392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157" baseline="0"/>
            </a:lvl3pPr>
            <a:lvl4pPr marL="1632589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4pPr>
            <a:lvl5pPr marL="2176785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846776" y="3717745"/>
            <a:ext cx="10561721" cy="731202"/>
          </a:xfrm>
          <a:prstGeom prst="rect">
            <a:avLst/>
          </a:prstGeom>
        </p:spPr>
        <p:txBody>
          <a:bodyPr lIns="0" tIns="55513" rIns="0" bIns="55513" anchor="b">
            <a:noAutofit/>
          </a:bodyPr>
          <a:lstStyle>
            <a:lvl1pPr algn="l">
              <a:defRPr sz="3823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85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20284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46776" y="4390340"/>
            <a:ext cx="8000244" cy="1308711"/>
          </a:xfrm>
          <a:prstGeom prst="rect">
            <a:avLst/>
          </a:prstGeom>
        </p:spPr>
        <p:txBody>
          <a:bodyPr lIns="0" tIns="55513" rIns="0" bIns="0"/>
          <a:lstStyle>
            <a:lvl1pPr marL="408147" marR="0" indent="-408147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>
                <a:solidFill>
                  <a:srgbClr val="519CBB"/>
                </a:solidFill>
                <a:effectLst/>
              </a:defRPr>
            </a:lvl1pPr>
            <a:lvl2pPr marL="544196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353" baseline="0"/>
            </a:lvl2pPr>
            <a:lvl3pPr marL="1088392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157" baseline="0"/>
            </a:lvl3pPr>
            <a:lvl4pPr marL="1632589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4pPr>
            <a:lvl5pPr marL="2176785" marR="0" indent="0" algn="l" defTabSz="108839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863" baseline="0"/>
            </a:lvl5pPr>
            <a:lvl6pPr>
              <a:defRPr sz="2157"/>
            </a:lvl6pPr>
            <a:lvl7pPr>
              <a:defRPr sz="2157"/>
            </a:lvl7pPr>
            <a:lvl8pPr>
              <a:defRPr sz="2157"/>
            </a:lvl8pPr>
            <a:lvl9pPr>
              <a:defRPr sz="2157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846776" y="3717745"/>
            <a:ext cx="10561721" cy="731202"/>
          </a:xfrm>
          <a:prstGeom prst="rect">
            <a:avLst/>
          </a:prstGeom>
        </p:spPr>
        <p:txBody>
          <a:bodyPr lIns="0" tIns="55513" rIns="0" bIns="55513" anchor="b">
            <a:noAutofit/>
          </a:bodyPr>
          <a:lstStyle>
            <a:lvl1pPr algn="l">
              <a:defRPr sz="3823">
                <a:solidFill>
                  <a:srgbClr val="1D446B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099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819923" y="240772"/>
            <a:ext cx="7904294" cy="605954"/>
          </a:xfrm>
          <a:prstGeom prst="rect">
            <a:avLst/>
          </a:prstGeom>
        </p:spPr>
        <p:txBody>
          <a:bodyPr lIns="0" tIns="55513" rIns="0" bIns="55513" anchor="ctr">
            <a:noAutofit/>
          </a:bodyPr>
          <a:lstStyle>
            <a:lvl1pPr algn="r">
              <a:lnSpc>
                <a:spcPct val="100000"/>
              </a:lnSpc>
              <a:defRPr sz="2647" b="1" kern="0" spc="11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6142" y="5748661"/>
            <a:ext cx="11279717" cy="593404"/>
          </a:xfrm>
          <a:prstGeom prst="rect">
            <a:avLst/>
          </a:prstGeom>
          <a:solidFill>
            <a:schemeClr val="tx2"/>
          </a:solidFill>
        </p:spPr>
        <p:txBody>
          <a:bodyPr lIns="111026" tIns="55513" rIns="111026" bIns="55513" anchor="ctr"/>
          <a:lstStyle>
            <a:lvl1pPr algn="ctr">
              <a:lnSpc>
                <a:spcPct val="90000"/>
              </a:lnSpc>
              <a:defRPr sz="1667" b="1" spc="119">
                <a:solidFill>
                  <a:schemeClr val="bg1"/>
                </a:solidFill>
              </a:defRPr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 dirty="0" smtClean="0"/>
              <a:t>TAKE AWAY BAR—KEY POINT OR SUMMARY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3378709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575734" y="1130300"/>
            <a:ext cx="11040533" cy="0"/>
          </a:xfrm>
          <a:prstGeom prst="line">
            <a:avLst/>
          </a:prstGeom>
          <a:ln w="6350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452967" y="941388"/>
            <a:ext cx="11250084" cy="3857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43" baseline="-25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68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ANS.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43" tIns="54422" rIns="108843" bIns="54422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43" dirty="0">
              <a:solidFill>
                <a:prstClr val="white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796946" y="1682643"/>
            <a:ext cx="10363200" cy="4388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>
              <a:defRPr sz="3823" spc="119" baseline="0">
                <a:solidFill>
                  <a:srgbClr val="1D446B"/>
                </a:solidFill>
              </a:defRPr>
            </a:lvl1pPr>
          </a:lstStyle>
          <a:p>
            <a:r>
              <a:rPr lang="en-US" dirty="0" smtClean="0"/>
              <a:t>Thank You Slid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7558" y="5860682"/>
            <a:ext cx="2723464" cy="37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5839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1"/>
            <a:ext cx="12192000" cy="6554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800">
              <a:solidFill>
                <a:srgbClr val="FFFFFF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-1" y="0"/>
            <a:ext cx="12183353" cy="6553200"/>
            <a:chOff x="-1" y="0"/>
            <a:chExt cx="9137515" cy="4914900"/>
          </a:xfrm>
        </p:grpSpPr>
        <p:grpSp>
          <p:nvGrpSpPr>
            <p:cNvPr id="16" name="Group 87"/>
            <p:cNvGrpSpPr/>
            <p:nvPr userDrawn="1"/>
          </p:nvGrpSpPr>
          <p:grpSpPr>
            <a:xfrm>
              <a:off x="142570" y="6214"/>
              <a:ext cx="8858313" cy="4908686"/>
              <a:chOff x="142672" y="603115"/>
              <a:chExt cx="8864600" cy="4338536"/>
            </a:xfrm>
          </p:grpSpPr>
          <p:cxnSp>
            <p:nvCxnSpPr>
              <p:cNvPr id="59" name="Straight Connector 58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254"/>
            <p:cNvGrpSpPr/>
            <p:nvPr userDrawn="1"/>
          </p:nvGrpSpPr>
          <p:grpSpPr>
            <a:xfrm>
              <a:off x="-1" y="0"/>
              <a:ext cx="9137515" cy="4896684"/>
              <a:chOff x="-4568761" y="0"/>
              <a:chExt cx="13706276" cy="4896684"/>
            </a:xfrm>
          </p:grpSpPr>
          <p:cxnSp>
            <p:nvCxnSpPr>
              <p:cNvPr id="26" name="Straight Connector 25"/>
              <p:cNvCxnSpPr/>
              <p:nvPr userDrawn="1"/>
            </p:nvCxnSpPr>
            <p:spPr>
              <a:xfrm flipH="1">
                <a:off x="-4568761" y="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>
              <a:xfrm flipH="1">
                <a:off x="-4568761" y="15283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>
              <a:xfrm flipH="1">
                <a:off x="-4568761" y="30567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>
              <a:xfrm flipH="1">
                <a:off x="-4568761" y="45851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>
              <a:xfrm flipH="1">
                <a:off x="-4568761" y="61135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>
              <a:xfrm flipH="1">
                <a:off x="-4568761" y="76419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flipH="1">
                <a:off x="-4568761" y="91702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 flipH="1">
                <a:off x="-4568761" y="106986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>
              <a:xfrm flipH="1">
                <a:off x="-4568761" y="122270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>
              <a:xfrm flipH="1">
                <a:off x="-4568761" y="1375542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 flipH="1">
                <a:off x="-4568761" y="152838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>
              <a:xfrm flipH="1">
                <a:off x="-4568761" y="168121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>
              <a:xfrm flipH="1">
                <a:off x="-4568761" y="183405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 flipH="1">
                <a:off x="-4568761" y="198689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 userDrawn="1"/>
            </p:nvCxnSpPr>
            <p:spPr>
              <a:xfrm flipH="1">
                <a:off x="-4568761" y="213973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 userDrawn="1"/>
            </p:nvCxnSpPr>
            <p:spPr>
              <a:xfrm flipH="1">
                <a:off x="-4568761" y="229257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 userDrawn="1"/>
            </p:nvCxnSpPr>
            <p:spPr>
              <a:xfrm flipH="1">
                <a:off x="-4568761" y="244540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 userDrawn="1"/>
            </p:nvCxnSpPr>
            <p:spPr>
              <a:xfrm flipH="1">
                <a:off x="-4568761" y="259824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 userDrawn="1"/>
            </p:nvCxnSpPr>
            <p:spPr>
              <a:xfrm flipH="1">
                <a:off x="-4568761" y="275108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 flipH="1">
                <a:off x="-4568761" y="290392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 userDrawn="1"/>
            </p:nvCxnSpPr>
            <p:spPr>
              <a:xfrm flipH="1">
                <a:off x="-4568761" y="305676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 userDrawn="1"/>
            </p:nvCxnSpPr>
            <p:spPr>
              <a:xfrm flipH="1">
                <a:off x="-4568761" y="320959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 userDrawn="1"/>
            </p:nvCxnSpPr>
            <p:spPr>
              <a:xfrm flipH="1">
                <a:off x="-4568761" y="336243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 userDrawn="1"/>
            </p:nvCxnSpPr>
            <p:spPr>
              <a:xfrm flipH="1">
                <a:off x="-4568761" y="3515274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 userDrawn="1"/>
            </p:nvCxnSpPr>
            <p:spPr>
              <a:xfrm flipH="1">
                <a:off x="-4568761" y="3668112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 userDrawn="1"/>
            </p:nvCxnSpPr>
            <p:spPr>
              <a:xfrm flipH="1">
                <a:off x="-4568761" y="3820950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 flipH="1">
                <a:off x="-4568761" y="3973788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 userDrawn="1"/>
            </p:nvCxnSpPr>
            <p:spPr>
              <a:xfrm flipH="1">
                <a:off x="-4568761" y="4126626"/>
                <a:ext cx="13706276" cy="2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 userDrawn="1"/>
            </p:nvCxnSpPr>
            <p:spPr>
              <a:xfrm flipH="1">
                <a:off x="-4568761" y="427946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 userDrawn="1"/>
            </p:nvCxnSpPr>
            <p:spPr>
              <a:xfrm flipH="1">
                <a:off x="-4568761" y="4438170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 flipH="1">
                <a:off x="-4568761" y="4591008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 flipH="1">
                <a:off x="-4568761" y="4743846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 flipH="1">
                <a:off x="-4568761" y="4896684"/>
                <a:ext cx="13706276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7" name="Group 16"/>
          <p:cNvGrpSpPr/>
          <p:nvPr userDrawn="1"/>
        </p:nvGrpSpPr>
        <p:grpSpPr>
          <a:xfrm>
            <a:off x="1735928" y="1786591"/>
            <a:ext cx="937741" cy="991132"/>
            <a:chOff x="-3330575" y="3005138"/>
            <a:chExt cx="1533526" cy="1620837"/>
          </a:xfrm>
          <a:solidFill>
            <a:schemeClr val="accent1"/>
          </a:solidFill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-3330575" y="3005138"/>
              <a:ext cx="1233488" cy="1620837"/>
            </a:xfrm>
            <a:custGeom>
              <a:avLst/>
              <a:gdLst>
                <a:gd name="T0" fmla="*/ 621 w 777"/>
                <a:gd name="T1" fmla="*/ 0 h 1021"/>
                <a:gd name="T2" fmla="*/ 0 w 777"/>
                <a:gd name="T3" fmla="*/ 1021 h 1021"/>
                <a:gd name="T4" fmla="*/ 621 w 777"/>
                <a:gd name="T5" fmla="*/ 1021 h 1021"/>
                <a:gd name="T6" fmla="*/ 777 w 777"/>
                <a:gd name="T7" fmla="*/ 785 h 1021"/>
                <a:gd name="T8" fmla="*/ 231 w 777"/>
                <a:gd name="T9" fmla="*/ 785 h 1021"/>
                <a:gd name="T10" fmla="*/ 699 w 777"/>
                <a:gd name="T11" fmla="*/ 0 h 1021"/>
                <a:gd name="T12" fmla="*/ 621 w 777"/>
                <a:gd name="T13" fmla="*/ 0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7" h="1021">
                  <a:moveTo>
                    <a:pt x="621" y="0"/>
                  </a:moveTo>
                  <a:lnTo>
                    <a:pt x="0" y="1021"/>
                  </a:lnTo>
                  <a:lnTo>
                    <a:pt x="621" y="1021"/>
                  </a:lnTo>
                  <a:lnTo>
                    <a:pt x="777" y="785"/>
                  </a:lnTo>
                  <a:lnTo>
                    <a:pt x="231" y="785"/>
                  </a:lnTo>
                  <a:lnTo>
                    <a:pt x="699" y="0"/>
                  </a:lnTo>
                  <a:lnTo>
                    <a:pt x="6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-2611437" y="3005138"/>
              <a:ext cx="814388" cy="1136650"/>
            </a:xfrm>
            <a:custGeom>
              <a:avLst/>
              <a:gdLst>
                <a:gd name="T0" fmla="*/ 435 w 513"/>
                <a:gd name="T1" fmla="*/ 0 h 716"/>
                <a:gd name="T2" fmla="*/ 513 w 513"/>
                <a:gd name="T3" fmla="*/ 0 h 716"/>
                <a:gd name="T4" fmla="*/ 78 w 513"/>
                <a:gd name="T5" fmla="*/ 716 h 716"/>
                <a:gd name="T6" fmla="*/ 0 w 513"/>
                <a:gd name="T7" fmla="*/ 716 h 716"/>
                <a:gd name="T8" fmla="*/ 435 w 513"/>
                <a:gd name="T9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716">
                  <a:moveTo>
                    <a:pt x="435" y="0"/>
                  </a:moveTo>
                  <a:lnTo>
                    <a:pt x="513" y="0"/>
                  </a:lnTo>
                  <a:lnTo>
                    <a:pt x="78" y="716"/>
                  </a:lnTo>
                  <a:lnTo>
                    <a:pt x="0" y="716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9542501" y="3280153"/>
            <a:ext cx="917355" cy="993073"/>
            <a:chOff x="2301081" y="6662108"/>
            <a:chExt cx="1500188" cy="1624012"/>
          </a:xfrm>
          <a:solidFill>
            <a:schemeClr val="accent1"/>
          </a:solidFill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551906" y="6662108"/>
              <a:ext cx="1249363" cy="393700"/>
            </a:xfrm>
            <a:custGeom>
              <a:avLst/>
              <a:gdLst>
                <a:gd name="T0" fmla="*/ 402 w 787"/>
                <a:gd name="T1" fmla="*/ 248 h 248"/>
                <a:gd name="T2" fmla="*/ 633 w 787"/>
                <a:gd name="T3" fmla="*/ 248 h 248"/>
                <a:gd name="T4" fmla="*/ 787 w 787"/>
                <a:gd name="T5" fmla="*/ 0 h 248"/>
                <a:gd name="T6" fmla="*/ 151 w 787"/>
                <a:gd name="T7" fmla="*/ 0 h 248"/>
                <a:gd name="T8" fmla="*/ 0 w 787"/>
                <a:gd name="T9" fmla="*/ 246 h 248"/>
                <a:gd name="T10" fmla="*/ 402 w 787"/>
                <a:gd name="T1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7" h="248">
                  <a:moveTo>
                    <a:pt x="402" y="248"/>
                  </a:moveTo>
                  <a:lnTo>
                    <a:pt x="633" y="248"/>
                  </a:lnTo>
                  <a:lnTo>
                    <a:pt x="787" y="0"/>
                  </a:lnTo>
                  <a:lnTo>
                    <a:pt x="151" y="0"/>
                  </a:lnTo>
                  <a:lnTo>
                    <a:pt x="0" y="246"/>
                  </a:lnTo>
                  <a:lnTo>
                    <a:pt x="402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683669" y="7162170"/>
              <a:ext cx="809625" cy="1123950"/>
            </a:xfrm>
            <a:custGeom>
              <a:avLst/>
              <a:gdLst>
                <a:gd name="T0" fmla="*/ 435 w 510"/>
                <a:gd name="T1" fmla="*/ 0 h 708"/>
                <a:gd name="T2" fmla="*/ 510 w 510"/>
                <a:gd name="T3" fmla="*/ 0 h 708"/>
                <a:gd name="T4" fmla="*/ 78 w 510"/>
                <a:gd name="T5" fmla="*/ 708 h 708"/>
                <a:gd name="T6" fmla="*/ 0 w 510"/>
                <a:gd name="T7" fmla="*/ 708 h 708"/>
                <a:gd name="T8" fmla="*/ 435 w 510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708">
                  <a:moveTo>
                    <a:pt x="435" y="0"/>
                  </a:moveTo>
                  <a:lnTo>
                    <a:pt x="510" y="0"/>
                  </a:lnTo>
                  <a:lnTo>
                    <a:pt x="78" y="708"/>
                  </a:lnTo>
                  <a:lnTo>
                    <a:pt x="0" y="708"/>
                  </a:lnTo>
                  <a:lnTo>
                    <a:pt x="4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2301081" y="7162170"/>
              <a:ext cx="803275" cy="1123950"/>
            </a:xfrm>
            <a:custGeom>
              <a:avLst/>
              <a:gdLst>
                <a:gd name="T0" fmla="*/ 430 w 506"/>
                <a:gd name="T1" fmla="*/ 0 h 708"/>
                <a:gd name="T2" fmla="*/ 506 w 506"/>
                <a:gd name="T3" fmla="*/ 0 h 708"/>
                <a:gd name="T4" fmla="*/ 76 w 506"/>
                <a:gd name="T5" fmla="*/ 708 h 708"/>
                <a:gd name="T6" fmla="*/ 0 w 506"/>
                <a:gd name="T7" fmla="*/ 708 h 708"/>
                <a:gd name="T8" fmla="*/ 430 w 506"/>
                <a:gd name="T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6" h="708">
                  <a:moveTo>
                    <a:pt x="430" y="0"/>
                  </a:moveTo>
                  <a:lnTo>
                    <a:pt x="506" y="0"/>
                  </a:lnTo>
                  <a:lnTo>
                    <a:pt x="76" y="708"/>
                  </a:lnTo>
                  <a:lnTo>
                    <a:pt x="0" y="708"/>
                  </a:lnTo>
                  <a:lnTo>
                    <a:pt x="4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46" tIns="45673" rIns="91346" bIns="45673" numCol="1" anchor="t" anchorCtr="0" compatLnSpc="1">
              <a:prstTxWarp prst="textNoShape">
                <a:avLst/>
              </a:prstTxWarp>
            </a:bodyPr>
            <a:lstStyle/>
            <a:p>
              <a:pPr defTabSz="913393"/>
              <a:endParaRPr lang="en-IN" sz="1797">
                <a:solidFill>
                  <a:prstClr val="black"/>
                </a:solidFill>
              </a:endParaRPr>
            </a:p>
          </p:txBody>
        </p:sp>
      </p:grpSp>
      <p:sp>
        <p:nvSpPr>
          <p:cNvPr id="25" name="Parallelogram 24"/>
          <p:cNvSpPr/>
          <p:nvPr/>
        </p:nvSpPr>
        <p:spPr>
          <a:xfrm>
            <a:off x="1905691" y="2177108"/>
            <a:ext cx="8442885" cy="1577177"/>
          </a:xfrm>
          <a:prstGeom prst="parallelogram">
            <a:avLst>
              <a:gd name="adj" fmla="val 5862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IN" sz="140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05691" y="2178051"/>
            <a:ext cx="8414933" cy="1576916"/>
          </a:xfrm>
          <a:prstGeom prst="parallelogram">
            <a:avLst>
              <a:gd name="adj" fmla="val 58503"/>
            </a:avLst>
          </a:prstGeom>
        </p:spPr>
        <p:txBody>
          <a:bodyPr lIns="36000" rIns="36000" anchor="ctr">
            <a:noAutofit/>
          </a:bodyPr>
          <a:lstStyle>
            <a:lvl1pPr marL="0" indent="0" algn="ctr">
              <a:buFontTx/>
              <a:buNone/>
              <a:defRPr sz="3200">
                <a:solidFill>
                  <a:schemeClr val="bg1"/>
                </a:solidFill>
              </a:defRPr>
            </a:lvl1pPr>
            <a:lvl2pPr marL="457177" indent="0" algn="ctr">
              <a:buFontTx/>
              <a:buNone/>
              <a:defRPr/>
            </a:lvl2pPr>
            <a:lvl3pPr marL="914353" indent="0" algn="ctr">
              <a:buFontTx/>
              <a:buNone/>
              <a:defRPr/>
            </a:lvl3pPr>
            <a:lvl4pPr marL="1371531" indent="0" algn="ctr">
              <a:buFontTx/>
              <a:buNone/>
              <a:defRPr/>
            </a:lvl4pPr>
            <a:lvl5pPr marL="1828709" indent="0" algn="ctr">
              <a:buFontTx/>
              <a:buNone/>
              <a:defRPr/>
            </a:lvl5pPr>
          </a:lstStyle>
          <a:p>
            <a:pPr lvl="0"/>
            <a:r>
              <a:rPr lang="en-US" dirty="0"/>
              <a:t>Section Breaker</a:t>
            </a:r>
          </a:p>
        </p:txBody>
      </p:sp>
    </p:spTree>
    <p:extLst>
      <p:ext uri="{BB962C8B-B14F-4D97-AF65-F5344CB8AC3E}">
        <p14:creationId xmlns:p14="http://schemas.microsoft.com/office/powerpoint/2010/main" val="425271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27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57" name="Straight Connector 56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rapezoid 15"/>
          <p:cNvSpPr/>
          <p:nvPr userDrawn="1"/>
        </p:nvSpPr>
        <p:spPr>
          <a:xfrm>
            <a:off x="0" y="803833"/>
            <a:ext cx="4919133" cy="5777548"/>
          </a:xfrm>
          <a:prstGeom prst="trapezoid">
            <a:avLst>
              <a:gd name="adj" fmla="val 181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IN" sz="1800" dirty="0">
              <a:solidFill>
                <a:srgbClr val="FFFFFF"/>
              </a:solidFill>
            </a:endParaRP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" y="804336"/>
            <a:ext cx="4847167" cy="5777045"/>
          </a:xfrm>
          <a:custGeom>
            <a:avLst/>
            <a:gdLst/>
            <a:ahLst/>
            <a:cxnLst/>
            <a:rect l="l" t="t" r="r" b="b"/>
            <a:pathLst>
              <a:path w="3635375" h="4348163">
                <a:moveTo>
                  <a:pt x="1" y="0"/>
                </a:moveTo>
                <a:lnTo>
                  <a:pt x="626920" y="0"/>
                </a:lnTo>
                <a:lnTo>
                  <a:pt x="2766061" y="0"/>
                </a:lnTo>
                <a:lnTo>
                  <a:pt x="3008455" y="0"/>
                </a:lnTo>
                <a:lnTo>
                  <a:pt x="3635375" y="4348163"/>
                </a:lnTo>
                <a:lnTo>
                  <a:pt x="2766061" y="4348163"/>
                </a:lnTo>
                <a:lnTo>
                  <a:pt x="1" y="4348163"/>
                </a:lnTo>
                <a:lnTo>
                  <a:pt x="0" y="4348163"/>
                </a:lnTo>
                <a:lnTo>
                  <a:pt x="1" y="43481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228589" indent="-228589">
              <a:buFont typeface="Arial" panose="020B0604020202020204" pitchFamily="34" charset="0"/>
              <a:buNone/>
              <a:defRPr lang="en-IN" noProof="0" dirty="0"/>
            </a:lvl1pPr>
          </a:lstStyle>
          <a:p>
            <a:pPr marL="0" lvl="0" indent="0" algn="ctr"/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srgbClr val="1F1A1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ase Study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958080" y="839047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THE CHALLENG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958105" y="1249681"/>
            <a:ext cx="6932059" cy="9546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None/>
              <a:defRPr sz="1467"/>
            </a:lvl2pPr>
            <a:lvl3pPr marL="914353" indent="0">
              <a:buNone/>
              <a:defRPr sz="1467"/>
            </a:lvl3pPr>
            <a:lvl4pPr marL="1371531" indent="0">
              <a:buNone/>
              <a:defRPr sz="1467"/>
            </a:lvl4pPr>
            <a:lvl5pPr marL="1828709" indent="0">
              <a:buNone/>
              <a:defRPr sz="1467"/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8080" y="2490443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SOLUTION HIGHLIGHTS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4958105" y="2901077"/>
            <a:ext cx="6932059" cy="150836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en-US" sz="1467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marR="0" indent="0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marL="304778" lvl="0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r>
              <a:rPr lang="en-US" dirty="0"/>
              <a:t>Enter Description</a:t>
            </a:r>
          </a:p>
          <a:p>
            <a:pPr marL="761954" marR="0" lvl="1" indent="-304778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Blip>
                <a:blip r:embed="rId2"/>
              </a:buBlip>
              <a:tabLst/>
              <a:defRPr/>
            </a:pPr>
            <a:r>
              <a:rPr lang="en-US" dirty="0"/>
              <a:t>Description</a:t>
            </a:r>
          </a:p>
          <a:p>
            <a:pPr marL="761954" lvl="1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58080" y="4678355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SOLUTION HIGHLIGHTS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4958105" y="5088989"/>
            <a:ext cx="6932059" cy="150836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en-US" sz="1467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marR="0" indent="0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marL="304778" lvl="0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r>
              <a:rPr lang="en-US" dirty="0"/>
              <a:t>Enter Description</a:t>
            </a:r>
          </a:p>
          <a:p>
            <a:pPr marL="761954" marR="0" lvl="1" indent="-304778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Blip>
                <a:blip r:embed="rId2"/>
              </a:buBlip>
              <a:tabLst/>
              <a:defRPr/>
            </a:pPr>
            <a:r>
              <a:rPr lang="en-US" dirty="0"/>
              <a:t>Description</a:t>
            </a:r>
          </a:p>
          <a:p>
            <a:pPr marL="761954" lvl="1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823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-1" y="795868"/>
            <a:ext cx="12183353" cy="5793001"/>
            <a:chOff x="0" y="596900"/>
            <a:chExt cx="9144000" cy="4344751"/>
          </a:xfrm>
        </p:grpSpPr>
        <p:grpSp>
          <p:nvGrpSpPr>
            <p:cNvPr id="21" name="Group 87"/>
            <p:cNvGrpSpPr/>
            <p:nvPr userDrawn="1"/>
          </p:nvGrpSpPr>
          <p:grpSpPr>
            <a:xfrm>
              <a:off x="142672" y="603115"/>
              <a:ext cx="8864600" cy="4338536"/>
              <a:chOff x="142672" y="603115"/>
              <a:chExt cx="8864600" cy="4338536"/>
            </a:xfrm>
          </p:grpSpPr>
          <p:cxnSp>
            <p:nvCxnSpPr>
              <p:cNvPr id="55" name="Straight Connector 54"/>
              <p:cNvCxnSpPr/>
              <p:nvPr userDrawn="1"/>
            </p:nvCxnSpPr>
            <p:spPr>
              <a:xfrm>
                <a:off x="1426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 userDrawn="1"/>
            </p:nvCxnSpPr>
            <p:spPr>
              <a:xfrm>
                <a:off x="2955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 userDrawn="1"/>
            </p:nvCxnSpPr>
            <p:spPr>
              <a:xfrm>
                <a:off x="4483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 userDrawn="1"/>
            </p:nvCxnSpPr>
            <p:spPr>
              <a:xfrm>
                <a:off x="6011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 userDrawn="1"/>
            </p:nvCxnSpPr>
            <p:spPr>
              <a:xfrm>
                <a:off x="7540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 userDrawn="1"/>
            </p:nvCxnSpPr>
            <p:spPr>
              <a:xfrm>
                <a:off x="9068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 userDrawn="1"/>
            </p:nvCxnSpPr>
            <p:spPr>
              <a:xfrm>
                <a:off x="10597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 userDrawn="1"/>
            </p:nvCxnSpPr>
            <p:spPr>
              <a:xfrm>
                <a:off x="12125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 userDrawn="1"/>
            </p:nvCxnSpPr>
            <p:spPr>
              <a:xfrm>
                <a:off x="136537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 userDrawn="1"/>
            </p:nvCxnSpPr>
            <p:spPr>
              <a:xfrm>
                <a:off x="151821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 userDrawn="1"/>
            </p:nvCxnSpPr>
            <p:spPr>
              <a:xfrm>
                <a:off x="167105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 userDrawn="1"/>
            </p:nvCxnSpPr>
            <p:spPr>
              <a:xfrm>
                <a:off x="182389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 userDrawn="1"/>
            </p:nvCxnSpPr>
            <p:spPr>
              <a:xfrm>
                <a:off x="197672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 userDrawn="1"/>
            </p:nvCxnSpPr>
            <p:spPr>
              <a:xfrm>
                <a:off x="212956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 userDrawn="1"/>
            </p:nvCxnSpPr>
            <p:spPr>
              <a:xfrm>
                <a:off x="228240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 userDrawn="1"/>
            </p:nvCxnSpPr>
            <p:spPr>
              <a:xfrm>
                <a:off x="243524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 userDrawn="1"/>
            </p:nvCxnSpPr>
            <p:spPr>
              <a:xfrm>
                <a:off x="258808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 userDrawn="1"/>
            </p:nvCxnSpPr>
            <p:spPr>
              <a:xfrm>
                <a:off x="274091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 userDrawn="1"/>
            </p:nvCxnSpPr>
            <p:spPr>
              <a:xfrm>
                <a:off x="289375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 userDrawn="1"/>
            </p:nvCxnSpPr>
            <p:spPr>
              <a:xfrm>
                <a:off x="304659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 userDrawn="1"/>
            </p:nvCxnSpPr>
            <p:spPr>
              <a:xfrm>
                <a:off x="319943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 userDrawn="1"/>
            </p:nvCxnSpPr>
            <p:spPr>
              <a:xfrm>
                <a:off x="335227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 userDrawn="1"/>
            </p:nvCxnSpPr>
            <p:spPr>
              <a:xfrm>
                <a:off x="350510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 userDrawn="1"/>
            </p:nvCxnSpPr>
            <p:spPr>
              <a:xfrm>
                <a:off x="365794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 userDrawn="1"/>
            </p:nvCxnSpPr>
            <p:spPr>
              <a:xfrm>
                <a:off x="381078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396362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411646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426929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442213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457497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472781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488065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503348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518632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533916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549200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564484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579767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595051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610335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625619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640903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656186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671470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 userDrawn="1"/>
            </p:nvCxnSpPr>
            <p:spPr>
              <a:xfrm>
                <a:off x="686754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 userDrawn="1"/>
            </p:nvCxnSpPr>
            <p:spPr>
              <a:xfrm>
                <a:off x="702038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 userDrawn="1"/>
            </p:nvCxnSpPr>
            <p:spPr>
              <a:xfrm>
                <a:off x="717322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 userDrawn="1"/>
            </p:nvCxnSpPr>
            <p:spPr>
              <a:xfrm>
                <a:off x="732605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 userDrawn="1"/>
            </p:nvCxnSpPr>
            <p:spPr>
              <a:xfrm>
                <a:off x="747889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 userDrawn="1"/>
            </p:nvCxnSpPr>
            <p:spPr>
              <a:xfrm>
                <a:off x="763173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 userDrawn="1"/>
            </p:nvCxnSpPr>
            <p:spPr>
              <a:xfrm>
                <a:off x="77845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/>
              <p:cNvCxnSpPr/>
              <p:nvPr userDrawn="1"/>
            </p:nvCxnSpPr>
            <p:spPr>
              <a:xfrm>
                <a:off x="793741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/>
              <p:cNvCxnSpPr/>
              <p:nvPr userDrawn="1"/>
            </p:nvCxnSpPr>
            <p:spPr>
              <a:xfrm>
                <a:off x="809024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8243086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 userDrawn="1"/>
            </p:nvCxnSpPr>
            <p:spPr>
              <a:xfrm>
                <a:off x="8395924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854876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 userDrawn="1"/>
            </p:nvCxnSpPr>
            <p:spPr>
              <a:xfrm>
                <a:off x="8701600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8854438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 userDrawn="1"/>
            </p:nvCxnSpPr>
            <p:spPr>
              <a:xfrm>
                <a:off x="9007272" y="603115"/>
                <a:ext cx="0" cy="4338536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Connector 25"/>
            <p:cNvCxnSpPr/>
            <p:nvPr userDrawn="1"/>
          </p:nvCxnSpPr>
          <p:spPr>
            <a:xfrm rot="5400000">
              <a:off x="4572000" y="-397510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rot="5400000">
              <a:off x="4572000" y="-382226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4572000" y="-366942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572000" y="-351658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572000" y="-336374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rot="5400000">
              <a:off x="4572000" y="-321091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rot="5400000">
              <a:off x="4572000" y="-305807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rot="5400000">
              <a:off x="4572000" y="-290523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572000" y="-275239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rot="5400000">
              <a:off x="4572000" y="-259955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4572000" y="-244672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rot="5400000">
              <a:off x="4572000" y="-229388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4572000" y="-214104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4572000" y="-198820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572000" y="-183536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rot="5400000">
              <a:off x="4572000" y="-168253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4572000" y="-152969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4572000" y="-137685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rot="5400000">
              <a:off x="4572000" y="-122401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rot="5400000">
              <a:off x="4572000" y="-107117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4572000" y="-91834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572000" y="-76550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rot="5400000">
              <a:off x="4572000" y="-6126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rot="5400000">
              <a:off x="4572000" y="-4598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rot="5400000">
              <a:off x="4572000" y="-306988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rot="5400000">
              <a:off x="4572000" y="-154150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rot="5400000">
              <a:off x="4572000" y="-1312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rot="5400000">
              <a:off x="4572000" y="151526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rot="5400000">
              <a:off x="4572000" y="304364"/>
              <a:ext cx="0" cy="9144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rapezoid 15"/>
          <p:cNvSpPr/>
          <p:nvPr userDrawn="1"/>
        </p:nvSpPr>
        <p:spPr>
          <a:xfrm flipH="1">
            <a:off x="7264400" y="808593"/>
            <a:ext cx="4927600" cy="5772788"/>
          </a:xfrm>
          <a:prstGeom prst="trapezoid">
            <a:avLst>
              <a:gd name="adj" fmla="val 1864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US" sz="3733" b="1" dirty="0">
              <a:solidFill>
                <a:srgbClr val="000000"/>
              </a:solidFill>
            </a:endParaRPr>
          </a:p>
          <a:p>
            <a:pPr algn="ctr" defTabSz="914377"/>
            <a:endParaRPr lang="en-IN" sz="1800" dirty="0">
              <a:solidFill>
                <a:srgbClr val="FFFFFF"/>
              </a:solidFill>
            </a:endParaRP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/>
          </p:nvPr>
        </p:nvSpPr>
        <p:spPr>
          <a:xfrm flipH="1">
            <a:off x="7344139" y="801532"/>
            <a:ext cx="4847167" cy="5779849"/>
          </a:xfrm>
          <a:custGeom>
            <a:avLst/>
            <a:gdLst/>
            <a:ahLst/>
            <a:cxnLst/>
            <a:rect l="l" t="t" r="r" b="b"/>
            <a:pathLst>
              <a:path w="3635375" h="4348163">
                <a:moveTo>
                  <a:pt x="1" y="0"/>
                </a:moveTo>
                <a:lnTo>
                  <a:pt x="626920" y="0"/>
                </a:lnTo>
                <a:lnTo>
                  <a:pt x="2766061" y="0"/>
                </a:lnTo>
                <a:lnTo>
                  <a:pt x="3008455" y="0"/>
                </a:lnTo>
                <a:lnTo>
                  <a:pt x="3635375" y="4348163"/>
                </a:lnTo>
                <a:lnTo>
                  <a:pt x="2766061" y="4348163"/>
                </a:lnTo>
                <a:lnTo>
                  <a:pt x="1" y="4348163"/>
                </a:lnTo>
                <a:lnTo>
                  <a:pt x="0" y="4348163"/>
                </a:lnTo>
                <a:lnTo>
                  <a:pt x="1" y="43481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IN" dirty="0" smtClean="0"/>
            </a:lvl1pPr>
          </a:lstStyle>
          <a:p>
            <a:endParaRPr lang="en-IN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1"/>
            <a:ext cx="11379200" cy="6738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Solution Slide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8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9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89083" y="856340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SOLUTION DESCRIPTION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289108" y="1215095"/>
            <a:ext cx="6932059" cy="747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indent="0">
              <a:buNone/>
              <a:defRPr sz="1467"/>
            </a:lvl2pPr>
            <a:lvl3pPr marL="914353" indent="0">
              <a:buNone/>
              <a:defRPr sz="1467"/>
            </a:lvl3pPr>
            <a:lvl4pPr marL="1371531" indent="0">
              <a:buNone/>
              <a:defRPr sz="1467"/>
            </a:lvl4pPr>
            <a:lvl5pPr marL="1828709" indent="0">
              <a:buNone/>
              <a:defRPr sz="1467"/>
            </a:lvl5pPr>
          </a:lstStyle>
          <a:p>
            <a:pPr lvl="0"/>
            <a:r>
              <a:rPr lang="en-US" dirty="0"/>
              <a:t>Enter Descripti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083" y="2127276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CHALLENGES SOLVED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289108" y="2486031"/>
            <a:ext cx="6932059" cy="1093749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en-US" sz="1467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marR="0" indent="0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marL="304778" lvl="0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r>
              <a:rPr lang="en-US" dirty="0"/>
              <a:t>Enter Description</a:t>
            </a:r>
          </a:p>
          <a:p>
            <a:pPr marL="761954" marR="0" lvl="1" indent="-304778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Blip>
                <a:blip r:embed="rId2"/>
              </a:buBlip>
              <a:tabLst/>
              <a:defRPr/>
            </a:pPr>
            <a:r>
              <a:rPr lang="en-US" dirty="0"/>
              <a:t>Description</a:t>
            </a:r>
          </a:p>
          <a:p>
            <a:pPr marL="761954" lvl="1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endParaRPr lang="en-US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289083" y="3735583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BUSINESS VALUE DELIVERED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289108" y="4094337"/>
            <a:ext cx="6932059" cy="97269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en-US" sz="1467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marR="0" indent="0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marL="304778" lvl="0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r>
              <a:rPr lang="en-US" dirty="0"/>
              <a:t>Enter Description</a:t>
            </a:r>
          </a:p>
          <a:p>
            <a:pPr marL="761954" marR="0" lvl="1" indent="-304778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Blip>
                <a:blip r:embed="rId2"/>
              </a:buBlip>
              <a:tabLst/>
              <a:defRPr/>
            </a:pPr>
            <a:r>
              <a:rPr lang="en-US" dirty="0"/>
              <a:t>Description</a:t>
            </a:r>
          </a:p>
          <a:p>
            <a:pPr marL="761954" lvl="1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9083" y="5215345"/>
            <a:ext cx="6931069" cy="33866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67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IN" dirty="0"/>
              <a:t>BUSINESS VALUE DELIVERED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289108" y="5574100"/>
            <a:ext cx="6932059" cy="100728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en-US" sz="1467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7" marR="0" indent="0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marL="304778" lvl="0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r>
              <a:rPr lang="en-US" dirty="0"/>
              <a:t>Enter Description</a:t>
            </a:r>
          </a:p>
          <a:p>
            <a:pPr marL="761954" marR="0" lvl="1" indent="-304778" algn="l" defTabSz="91437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533"/>
              </a:spcAft>
              <a:buClrTx/>
              <a:buSzPct val="115000"/>
              <a:buFont typeface="Arial"/>
              <a:buBlip>
                <a:blip r:embed="rId2"/>
              </a:buBlip>
              <a:tabLst/>
              <a:defRPr/>
            </a:pPr>
            <a:r>
              <a:rPr lang="en-US" dirty="0"/>
              <a:t>Description</a:t>
            </a:r>
          </a:p>
          <a:p>
            <a:pPr marL="761954" lvl="1" indent="-304778" defTabSz="914377" eaLnBrk="0" fontAlgn="base" hangingPunct="0">
              <a:spcBef>
                <a:spcPct val="0"/>
              </a:spcBef>
              <a:spcAft>
                <a:spcPts val="533"/>
              </a:spcAft>
              <a:buSzPct val="115000"/>
              <a:buBlip>
                <a:blip r:embed="rId2"/>
              </a:buBlip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87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6583683"/>
            <a:ext cx="12192000" cy="274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914354"/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96676" y="6581380"/>
            <a:ext cx="3228639" cy="276997"/>
          </a:xfrm>
          <a:prstGeom prst="rect">
            <a:avLst/>
          </a:prstGeom>
          <a:noFill/>
        </p:spPr>
        <p:txBody>
          <a:bodyPr wrap="none" lIns="91439" tIns="45719" rIns="91439" bIns="45719" rtlCol="0">
            <a:spAutoFit/>
          </a:bodyPr>
          <a:lstStyle/>
          <a:p>
            <a:pPr algn="ctr" defTabSz="914354"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Confidential | L&amp;T Technology Services | © 2016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37495" y="6581379"/>
            <a:ext cx="614596" cy="276997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r" defTabSz="914354"/>
            <a:fld id="{D1AD548E-8EA6-684F-9B89-4E9F5DC57BB8}" type="slidenum">
              <a:rPr lang="en-US" sz="1200" smtClean="0">
                <a:solidFill>
                  <a:srgbClr val="A5A5A5">
                    <a:lumMod val="75000"/>
                  </a:srgbClr>
                </a:solidFill>
                <a:latin typeface="Calibri"/>
              </a:rPr>
              <a:pPr algn="r" defTabSz="914354"/>
              <a:t>‹#›</a:t>
            </a:fld>
            <a:endParaRPr lang="en-US" sz="1200" dirty="0">
              <a:solidFill>
                <a:srgbClr val="A5A5A5">
                  <a:lumMod val="75000"/>
                </a:srgbClr>
              </a:solidFill>
              <a:latin typeface="Calibri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33331" y="580668"/>
            <a:ext cx="11525339" cy="144093"/>
            <a:chOff x="249998" y="488319"/>
            <a:chExt cx="8644004" cy="108070"/>
          </a:xfrm>
        </p:grpSpPr>
        <p:sp>
          <p:nvSpPr>
            <p:cNvPr id="16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1"/>
              <a:endParaRPr lang="en-IN" sz="2400">
                <a:solidFill>
                  <a:prstClr val="white"/>
                </a:solidFill>
              </a:endParaRPr>
            </a:p>
          </p:txBody>
        </p:sp>
        <p:sp>
          <p:nvSpPr>
            <p:cNvPr id="18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1"/>
              <a:endParaRPr lang="en-IN" sz="24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194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800" b="1">
          <a:solidFill>
            <a:schemeClr val="bg1"/>
          </a:solidFill>
          <a:latin typeface="Arial" pitchFamily="34" charset="0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5pPr>
      <a:lvl6pPr marL="583968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6pPr>
      <a:lvl7pPr marL="1167976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7pPr>
      <a:lvl8pPr marL="1751968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8pPr>
      <a:lvl9pPr marL="2335962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9pPr>
    </p:titleStyle>
    <p:bodyStyle>
      <a:lvl1pPr marL="437993" indent="-437993" algn="l" rtl="0" fontAlgn="base">
        <a:spcBef>
          <a:spcPct val="20000"/>
        </a:spcBef>
        <a:spcAft>
          <a:spcPct val="0"/>
        </a:spcAft>
        <a:defRPr sz="3700">
          <a:solidFill>
            <a:schemeClr val="bg1"/>
          </a:solidFill>
          <a:latin typeface="Arial" pitchFamily="34" charset="0"/>
          <a:ea typeface="+mn-ea"/>
          <a:cs typeface="+mn-cs"/>
        </a:defRPr>
      </a:lvl1pPr>
      <a:lvl2pPr marL="949000" indent="-364994" algn="l" rtl="0" fontAlgn="base">
        <a:spcBef>
          <a:spcPct val="20000"/>
        </a:spcBef>
        <a:spcAft>
          <a:spcPct val="0"/>
        </a:spcAft>
        <a:buChar char="–"/>
        <a:defRPr sz="3700">
          <a:solidFill>
            <a:schemeClr val="tx1"/>
          </a:solidFill>
          <a:latin typeface="Times" pitchFamily="18" charset="0"/>
        </a:defRPr>
      </a:lvl2pPr>
      <a:lvl3pPr marL="1459974" indent="-291983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Times" pitchFamily="18" charset="0"/>
        </a:defRPr>
      </a:lvl3pPr>
      <a:lvl4pPr marL="2043977" indent="-291983" algn="l" rtl="0" fontAlgn="base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Times" pitchFamily="18" charset="0"/>
        </a:defRPr>
      </a:lvl4pPr>
      <a:lvl5pPr marL="2627972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5pPr>
      <a:lvl6pPr marL="3211956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6pPr>
      <a:lvl7pPr marL="3795950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7pPr>
      <a:lvl8pPr marL="4379921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8pPr>
      <a:lvl9pPr marL="4963915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9pPr>
    </p:bodyStyle>
    <p:otherStyle>
      <a:defPPr>
        <a:defRPr lang="en-US"/>
      </a:defPPr>
      <a:lvl1pPr marL="0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3968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67976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51968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35962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19954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03931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7948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71925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583683"/>
            <a:ext cx="12192000" cy="274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914354"/>
            <a:endParaRPr lang="en-US" sz="1867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96684" y="6581380"/>
            <a:ext cx="3228639" cy="276997"/>
          </a:xfrm>
          <a:prstGeom prst="rect">
            <a:avLst/>
          </a:prstGeom>
          <a:noFill/>
        </p:spPr>
        <p:txBody>
          <a:bodyPr wrap="none" lIns="91439" tIns="45719" rIns="91439" bIns="45719" rtlCol="0">
            <a:spAutoFit/>
          </a:bodyPr>
          <a:lstStyle/>
          <a:p>
            <a:pPr algn="ctr" defTabSz="914354">
              <a:defRPr/>
            </a:pPr>
            <a:r>
              <a:rPr lang="en-US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Confidential </a:t>
            </a: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| L&amp;T Technology Services | © 2016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437495" y="6581379"/>
            <a:ext cx="614596" cy="276997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r" defTabSz="914354"/>
            <a:fld id="{D1AD548E-8EA6-684F-9B89-4E9F5DC57BB8}" type="slidenum">
              <a:rPr lang="en-US" sz="1200" smtClean="0">
                <a:solidFill>
                  <a:srgbClr val="000000"/>
                </a:solidFill>
              </a:rPr>
              <a:pPr algn="r" defTabSz="914354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33331" y="633676"/>
            <a:ext cx="11525339" cy="144093"/>
            <a:chOff x="249998" y="488319"/>
            <a:chExt cx="8644004" cy="108070"/>
          </a:xfrm>
        </p:grpSpPr>
        <p:sp>
          <p:nvSpPr>
            <p:cNvPr id="14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  <p:sp>
          <p:nvSpPr>
            <p:cNvPr id="15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IN" sz="1800">
                <a:solidFill>
                  <a:srgbClr val="FFFFFF"/>
                </a:solidFill>
              </a:endParaRPr>
            </a:p>
          </p:txBody>
        </p:sp>
      </p:grpSp>
      <p:sp>
        <p:nvSpPr>
          <p:cNvPr id="19" name="Title Placeholder 18"/>
          <p:cNvSpPr>
            <a:spLocks noGrp="1"/>
          </p:cNvSpPr>
          <p:nvPr>
            <p:ph type="title"/>
          </p:nvPr>
        </p:nvSpPr>
        <p:spPr>
          <a:xfrm>
            <a:off x="406400" y="172719"/>
            <a:ext cx="11176000" cy="4609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1"/>
          </p:nvPr>
        </p:nvSpPr>
        <p:spPr>
          <a:xfrm>
            <a:off x="609600" y="1148081"/>
            <a:ext cx="10972800" cy="4977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89" marR="0" lvl="0" indent="-228589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5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F1A1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66" marR="0" lvl="1" indent="-228589" algn="l" defTabSz="914354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5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F1A1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2942" marR="0" lvl="2" indent="-228589" algn="l" defTabSz="914354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5"/>
              </a:buBlip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F1A1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120" marR="0" lvl="3" indent="-228589" algn="l" defTabSz="914354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5"/>
              </a:buBlip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1A1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298" marR="0" lvl="4" indent="-228589" algn="l" defTabSz="914354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5"/>
              </a:buBlip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1F1A1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3560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  <p:sldLayoutId id="2147483821" r:id="rId20"/>
    <p:sldLayoutId id="2147483822" r:id="rId21"/>
    <p:sldLayoutId id="2147483823" r:id="rId22"/>
    <p:sldLayoutId id="2147483825" r:id="rId23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>
              <a:lumMod val="75000"/>
              <a:lumOff val="25000"/>
            </a:schemeClr>
          </a:solidFill>
          <a:latin typeface="+mn-lt"/>
          <a:ea typeface="+mj-ea"/>
          <a:cs typeface="+mj-cs"/>
        </a:defRPr>
      </a:lvl1pPr>
    </p:titleStyle>
    <p:bodyStyle>
      <a:lvl1pPr marL="228589" marR="0" indent="-228589" algn="l" defTabSz="914354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Blip>
          <a:blip r:embed="rId25"/>
        </a:buBlip>
        <a:tabLst>
          <a:tab pos="241294" algn="l"/>
        </a:tabLst>
        <a:defRPr lang="en-US" sz="2800" kern="120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766" marR="0" indent="-228589" algn="l" defTabSz="914354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Blip>
          <a:blip r:embed="rId25"/>
        </a:buBlip>
        <a:tabLst>
          <a:tab pos="241294" algn="l"/>
        </a:tabLst>
        <a:defRPr lang="en-US" sz="2400" kern="120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42" marR="0" indent="-228589" algn="l" defTabSz="914354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Blip>
          <a:blip r:embed="rId25"/>
        </a:buBlip>
        <a:tabLst>
          <a:tab pos="241294" algn="l"/>
        </a:tabLst>
        <a:defRPr lang="en-US" sz="2000" kern="120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20" marR="0" indent="-228589" algn="l" defTabSz="914354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Blip>
          <a:blip r:embed="rId25"/>
        </a:buBlip>
        <a:tabLst>
          <a:tab pos="241294" algn="l"/>
        </a:tabLst>
        <a:defRPr lang="en-US" sz="1867" kern="120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298" marR="0" indent="-228589" algn="l" defTabSz="914354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Blip>
          <a:blip r:embed="rId25"/>
        </a:buBlip>
        <a:tabLst>
          <a:tab pos="241294" algn="l"/>
        </a:tabLst>
        <a:defRPr lang="en-US" sz="186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583683"/>
            <a:ext cx="12192000" cy="274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914354"/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96676" y="6581380"/>
            <a:ext cx="3228639" cy="276997"/>
          </a:xfrm>
          <a:prstGeom prst="rect">
            <a:avLst/>
          </a:prstGeom>
          <a:noFill/>
        </p:spPr>
        <p:txBody>
          <a:bodyPr wrap="none" lIns="91439" tIns="45719" rIns="91439" bIns="45719" rtlCol="0">
            <a:spAutoFit/>
          </a:bodyPr>
          <a:lstStyle/>
          <a:p>
            <a:pPr algn="ctr" defTabSz="914354"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</a:rPr>
              <a:t>Confidential | L&amp;T Technology Services | © 2016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37495" y="6581379"/>
            <a:ext cx="614596" cy="276997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r" defTabSz="914354"/>
            <a:fld id="{D1AD548E-8EA6-684F-9B89-4E9F5DC57BB8}" type="slidenum">
              <a:rPr lang="en-US" sz="1200" smtClean="0">
                <a:solidFill>
                  <a:srgbClr val="A5A5A5">
                    <a:lumMod val="75000"/>
                  </a:srgbClr>
                </a:solidFill>
                <a:latin typeface="Calibri"/>
              </a:rPr>
              <a:pPr algn="r" defTabSz="914354"/>
              <a:t>‹#›</a:t>
            </a:fld>
            <a:endParaRPr lang="en-US" sz="1200" dirty="0">
              <a:solidFill>
                <a:srgbClr val="A5A5A5">
                  <a:lumMod val="75000"/>
                </a:srgbClr>
              </a:solidFill>
              <a:latin typeface="Calibri"/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33331" y="580668"/>
            <a:ext cx="11525339" cy="144093"/>
            <a:chOff x="249998" y="488319"/>
            <a:chExt cx="8644004" cy="108070"/>
          </a:xfrm>
        </p:grpSpPr>
        <p:sp>
          <p:nvSpPr>
            <p:cNvPr id="16" name="Parallelogram 2"/>
            <p:cNvSpPr/>
            <p:nvPr/>
          </p:nvSpPr>
          <p:spPr>
            <a:xfrm>
              <a:off x="249998" y="488320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1"/>
              <a:endParaRPr lang="en-IN" sz="2400">
                <a:solidFill>
                  <a:prstClr val="white"/>
                </a:solidFill>
              </a:endParaRPr>
            </a:p>
          </p:txBody>
        </p:sp>
        <p:sp>
          <p:nvSpPr>
            <p:cNvPr id="18" name="Parallelogram 2"/>
            <p:cNvSpPr/>
            <p:nvPr/>
          </p:nvSpPr>
          <p:spPr>
            <a:xfrm rot="10800000" flipH="1" flipV="1">
              <a:off x="308781" y="488319"/>
              <a:ext cx="8585221" cy="108069"/>
            </a:xfrm>
            <a:custGeom>
              <a:avLst/>
              <a:gdLst/>
              <a:ahLst/>
              <a:cxnLst/>
              <a:rect l="l" t="t" r="r" b="b"/>
              <a:pathLst>
                <a:path w="8585221" h="108069">
                  <a:moveTo>
                    <a:pt x="48252" y="0"/>
                  </a:moveTo>
                  <a:lnTo>
                    <a:pt x="79398" y="0"/>
                  </a:lnTo>
                  <a:lnTo>
                    <a:pt x="48099" y="42519"/>
                  </a:lnTo>
                  <a:lnTo>
                    <a:pt x="8554075" y="42519"/>
                  </a:lnTo>
                  <a:lnTo>
                    <a:pt x="8566173" y="42519"/>
                  </a:lnTo>
                  <a:lnTo>
                    <a:pt x="8585221" y="42519"/>
                  </a:lnTo>
                  <a:lnTo>
                    <a:pt x="8536969" y="108069"/>
                  </a:lnTo>
                  <a:lnTo>
                    <a:pt x="8505823" y="108069"/>
                  </a:lnTo>
                  <a:lnTo>
                    <a:pt x="8537122" y="65550"/>
                  </a:lnTo>
                  <a:lnTo>
                    <a:pt x="31146" y="65550"/>
                  </a:lnTo>
                  <a:lnTo>
                    <a:pt x="22248" y="65550"/>
                  </a:lnTo>
                  <a:lnTo>
                    <a:pt x="0" y="65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4A66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41"/>
              <a:endParaRPr lang="en-IN" sz="24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330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800" b="1">
          <a:solidFill>
            <a:schemeClr val="bg1"/>
          </a:solidFill>
          <a:latin typeface="Arial" pitchFamily="34" charset="0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5pPr>
      <a:lvl6pPr marL="583968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6pPr>
      <a:lvl7pPr marL="1167976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7pPr>
      <a:lvl8pPr marL="1751968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8pPr>
      <a:lvl9pPr marL="2335962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Trebuchet MS" pitchFamily="34" charset="0"/>
        </a:defRPr>
      </a:lvl9pPr>
    </p:titleStyle>
    <p:bodyStyle>
      <a:lvl1pPr marL="437993" indent="-437993" algn="l" rtl="0" fontAlgn="base">
        <a:spcBef>
          <a:spcPct val="20000"/>
        </a:spcBef>
        <a:spcAft>
          <a:spcPct val="0"/>
        </a:spcAft>
        <a:defRPr sz="3700">
          <a:solidFill>
            <a:schemeClr val="bg1"/>
          </a:solidFill>
          <a:latin typeface="Arial" pitchFamily="34" charset="0"/>
          <a:ea typeface="+mn-ea"/>
          <a:cs typeface="+mn-cs"/>
        </a:defRPr>
      </a:lvl1pPr>
      <a:lvl2pPr marL="949000" indent="-364994" algn="l" rtl="0" fontAlgn="base">
        <a:spcBef>
          <a:spcPct val="20000"/>
        </a:spcBef>
        <a:spcAft>
          <a:spcPct val="0"/>
        </a:spcAft>
        <a:buChar char="–"/>
        <a:defRPr sz="3700">
          <a:solidFill>
            <a:schemeClr val="tx1"/>
          </a:solidFill>
          <a:latin typeface="Times" pitchFamily="18" charset="0"/>
        </a:defRPr>
      </a:lvl2pPr>
      <a:lvl3pPr marL="1459974" indent="-291983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Times" pitchFamily="18" charset="0"/>
        </a:defRPr>
      </a:lvl3pPr>
      <a:lvl4pPr marL="2043977" indent="-291983" algn="l" rtl="0" fontAlgn="base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Times" pitchFamily="18" charset="0"/>
        </a:defRPr>
      </a:lvl4pPr>
      <a:lvl5pPr marL="2627972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5pPr>
      <a:lvl6pPr marL="3211956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6pPr>
      <a:lvl7pPr marL="3795950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7pPr>
      <a:lvl8pPr marL="4379921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8pPr>
      <a:lvl9pPr marL="4963915" indent="-291983" algn="l" rtl="0" fontAlgn="base">
        <a:spcBef>
          <a:spcPct val="20000"/>
        </a:spcBef>
        <a:spcAft>
          <a:spcPct val="0"/>
        </a:spcAft>
        <a:defRPr sz="2700">
          <a:solidFill>
            <a:schemeClr val="tx1"/>
          </a:solidFill>
          <a:latin typeface="Times" pitchFamily="18" charset="0"/>
        </a:defRPr>
      </a:lvl9pPr>
    </p:bodyStyle>
    <p:otherStyle>
      <a:defPPr>
        <a:defRPr lang="en-US"/>
      </a:defPPr>
      <a:lvl1pPr marL="0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3968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67976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51968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35962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19954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03931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7948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71925" algn="l" defTabSz="11679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 userDrawn="1"/>
        </p:nvCxnSpPr>
        <p:spPr>
          <a:xfrm>
            <a:off x="3366368" y="224721"/>
            <a:ext cx="0" cy="607835"/>
          </a:xfrm>
          <a:prstGeom prst="line">
            <a:avLst/>
          </a:prstGeom>
          <a:ln w="6350" cmpd="sng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50690" y="1066016"/>
            <a:ext cx="11278679" cy="0"/>
          </a:xfrm>
          <a:prstGeom prst="line">
            <a:avLst/>
          </a:prstGeom>
          <a:ln w="6350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31"/>
          <p:cNvSpPr txBox="1">
            <a:spLocks noChangeArrowheads="1"/>
          </p:cNvSpPr>
          <p:nvPr userDrawn="1"/>
        </p:nvSpPr>
        <p:spPr bwMode="auto">
          <a:xfrm>
            <a:off x="455626" y="6437131"/>
            <a:ext cx="1513418" cy="23063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54422" rIns="108843" bIns="54422" anchor="ctr">
            <a:spAutoFit/>
          </a:bodyPr>
          <a:lstStyle>
            <a:lvl1pPr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90622425-51C4-924B-A65B-318F7C3F3F56}" type="slidenum">
              <a:rPr lang="en-US" sz="1176">
                <a:solidFill>
                  <a:srgbClr val="1D446B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76" dirty="0">
              <a:solidFill>
                <a:srgbClr val="1D446B"/>
              </a:solidFill>
            </a:endParaRPr>
          </a:p>
        </p:txBody>
      </p:sp>
      <p:sp>
        <p:nvSpPr>
          <p:cNvPr id="19" name="Content Placeholder 1"/>
          <p:cNvSpPr txBox="1">
            <a:spLocks/>
          </p:cNvSpPr>
          <p:nvPr userDrawn="1"/>
        </p:nvSpPr>
        <p:spPr bwMode="auto">
          <a:xfrm>
            <a:off x="8817937" y="6400623"/>
            <a:ext cx="3024716" cy="403225"/>
          </a:xfrm>
          <a:prstGeom prst="rect">
            <a:avLst/>
          </a:prstGeom>
          <a:noFill/>
          <a:ln>
            <a:noFill/>
          </a:ln>
          <a:extLst/>
        </p:spPr>
        <p:txBody>
          <a:bodyPr lIns="108843" tIns="54422" rIns="108843" bIns="54422" anchor="ctr"/>
          <a:lstStyle>
            <a:lvl1pPr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 eaLnBrk="0" fontAlgn="base" hangingPunct="0">
              <a:lnSpc>
                <a:spcPct val="7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en-US" sz="686" kern="600" spc="119" baseline="0" dirty="0" smtClean="0">
                <a:solidFill>
                  <a:srgbClr val="519CBB"/>
                </a:solidFill>
                <a:ea typeface="ヒラギノ角ゴ Pro W3" charset="0"/>
                <a:cs typeface="ヒラギノ角ゴ Pro W3" charset="0"/>
              </a:rPr>
              <a:t>PRIVILEGED AND CONFIDENTIAL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450690" y="6345660"/>
            <a:ext cx="11278679" cy="0"/>
          </a:xfrm>
          <a:prstGeom prst="line">
            <a:avLst/>
          </a:prstGeom>
          <a:ln w="6350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JELD-WEN WD_RGB.png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864" y="224721"/>
            <a:ext cx="2465168" cy="51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67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647" b="1" kern="1200">
          <a:solidFill>
            <a:srgbClr val="004369"/>
          </a:solidFill>
          <a:latin typeface="Arial" pitchFamily="34" charset="0"/>
          <a:ea typeface="ヒラギノ角ゴ Pro W3" charset="0"/>
          <a:cs typeface="Arial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5pPr>
      <a:lvl6pPr marL="544196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6pPr>
      <a:lvl7pPr marL="1088392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7pPr>
      <a:lvl8pPr marL="1632589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8pPr>
      <a:lvl9pPr marL="2176785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Arial" charset="0"/>
        <a:defRPr sz="2353" kern="1200">
          <a:solidFill>
            <a:srgbClr val="004369"/>
          </a:solidFill>
          <a:latin typeface="Arial" pitchFamily="34" charset="0"/>
          <a:ea typeface="ヒラギノ角ゴ Pro W3" charset="0"/>
          <a:cs typeface="Arial" pitchFamily="34" charset="0"/>
        </a:defRPr>
      </a:lvl1pPr>
      <a:lvl2pPr marL="205964" indent="-205964" algn="l" rtl="0" eaLnBrk="0" fontAlgn="base" hangingPunct="0">
        <a:spcBef>
          <a:spcPts val="1057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2pPr>
      <a:lvl3pPr marL="411926" indent="-205964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3pPr>
      <a:lvl4pPr marL="616000" indent="-205964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4pPr>
      <a:lvl5pPr marL="821964" indent="-205964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5pPr>
      <a:lvl6pPr marL="2993078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37275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081471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25667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1pPr>
      <a:lvl2pPr marL="544196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2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9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5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5pPr>
      <a:lvl6pPr marL="2720980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6pPr>
      <a:lvl7pPr marL="3265176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7pPr>
      <a:lvl8pPr marL="3809373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8pPr>
      <a:lvl9pPr marL="4353569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 userDrawn="1"/>
        </p:nvCxnSpPr>
        <p:spPr>
          <a:xfrm>
            <a:off x="3366368" y="224721"/>
            <a:ext cx="0" cy="607835"/>
          </a:xfrm>
          <a:prstGeom prst="line">
            <a:avLst/>
          </a:prstGeom>
          <a:ln w="6350" cmpd="sng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50690" y="1066016"/>
            <a:ext cx="11278679" cy="0"/>
          </a:xfrm>
          <a:prstGeom prst="line">
            <a:avLst/>
          </a:prstGeom>
          <a:ln w="6350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31"/>
          <p:cNvSpPr txBox="1">
            <a:spLocks noChangeArrowheads="1"/>
          </p:cNvSpPr>
          <p:nvPr userDrawn="1"/>
        </p:nvSpPr>
        <p:spPr bwMode="auto">
          <a:xfrm>
            <a:off x="455626" y="6437131"/>
            <a:ext cx="1513418" cy="23063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54422" rIns="108843" bIns="54422" anchor="ctr">
            <a:spAutoFit/>
          </a:bodyPr>
          <a:lstStyle>
            <a:lvl1pPr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90622425-51C4-924B-A65B-318F7C3F3F56}" type="slidenum">
              <a:rPr lang="en-US" sz="1176">
                <a:solidFill>
                  <a:srgbClr val="1D446B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76" dirty="0">
              <a:solidFill>
                <a:srgbClr val="1D446B"/>
              </a:solidFill>
            </a:endParaRPr>
          </a:p>
        </p:txBody>
      </p:sp>
      <p:sp>
        <p:nvSpPr>
          <p:cNvPr id="19" name="Content Placeholder 1"/>
          <p:cNvSpPr txBox="1">
            <a:spLocks/>
          </p:cNvSpPr>
          <p:nvPr userDrawn="1"/>
        </p:nvSpPr>
        <p:spPr bwMode="auto">
          <a:xfrm>
            <a:off x="8817937" y="6400623"/>
            <a:ext cx="3024716" cy="403225"/>
          </a:xfrm>
          <a:prstGeom prst="rect">
            <a:avLst/>
          </a:prstGeom>
          <a:noFill/>
          <a:ln>
            <a:noFill/>
          </a:ln>
          <a:extLst/>
        </p:spPr>
        <p:txBody>
          <a:bodyPr lIns="108843" tIns="54422" rIns="108843" bIns="54422" anchor="ctr"/>
          <a:lstStyle>
            <a:lvl1pPr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 eaLnBrk="0" fontAlgn="base" hangingPunct="0">
              <a:lnSpc>
                <a:spcPct val="7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en-US" sz="686" kern="600" spc="119" baseline="0" dirty="0" smtClean="0">
                <a:solidFill>
                  <a:srgbClr val="519CBB"/>
                </a:solidFill>
                <a:ea typeface="ヒラギノ角ゴ Pro W3" charset="0"/>
                <a:cs typeface="ヒラギノ角ゴ Pro W3" charset="0"/>
              </a:rPr>
              <a:t>PRIVILEGED AND CONFIDENTIAL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450690" y="6345660"/>
            <a:ext cx="11278679" cy="0"/>
          </a:xfrm>
          <a:prstGeom prst="line">
            <a:avLst/>
          </a:prstGeom>
          <a:ln w="6350">
            <a:solidFill>
              <a:srgbClr val="9CA2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JELD-WEN WD_RGB.png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864" y="224721"/>
            <a:ext cx="2465168" cy="51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0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647" b="1" kern="1200">
          <a:solidFill>
            <a:srgbClr val="004369"/>
          </a:solidFill>
          <a:latin typeface="Arial" pitchFamily="34" charset="0"/>
          <a:ea typeface="ヒラギノ角ゴ Pro W3" charset="0"/>
          <a:cs typeface="Arial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647" b="1">
          <a:solidFill>
            <a:srgbClr val="004369"/>
          </a:solidFill>
          <a:latin typeface="Arial" charset="0"/>
          <a:ea typeface="ヒラギノ角ゴ Pro W3" charset="0"/>
          <a:cs typeface="Arial" charset="0"/>
        </a:defRPr>
      </a:lvl5pPr>
      <a:lvl6pPr marL="544196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6pPr>
      <a:lvl7pPr marL="1088392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7pPr>
      <a:lvl8pPr marL="1632589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8pPr>
      <a:lvl9pPr marL="2176785" algn="ctr" rtl="0" fontAlgn="base">
        <a:spcBef>
          <a:spcPct val="0"/>
        </a:spcBef>
        <a:spcAft>
          <a:spcPct val="0"/>
        </a:spcAft>
        <a:defRPr sz="5196">
          <a:solidFill>
            <a:schemeClr val="tx1"/>
          </a:solidFill>
          <a:latin typeface="Calibri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Arial" charset="0"/>
        <a:defRPr sz="2353" kern="1200">
          <a:solidFill>
            <a:srgbClr val="004369"/>
          </a:solidFill>
          <a:latin typeface="Arial" pitchFamily="34" charset="0"/>
          <a:ea typeface="ヒラギノ角ゴ Pro W3" charset="0"/>
          <a:cs typeface="Arial" pitchFamily="34" charset="0"/>
        </a:defRPr>
      </a:lvl1pPr>
      <a:lvl2pPr marL="205964" indent="-205964" algn="l" rtl="0" eaLnBrk="0" fontAlgn="base" hangingPunct="0">
        <a:spcBef>
          <a:spcPts val="1057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2pPr>
      <a:lvl3pPr marL="411926" indent="-205964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3pPr>
      <a:lvl4pPr marL="616000" indent="-205964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4pPr>
      <a:lvl5pPr marL="821964" indent="-205964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470" kern="1200">
          <a:solidFill>
            <a:srgbClr val="565A5B"/>
          </a:solidFill>
          <a:latin typeface="Arial" pitchFamily="34" charset="0"/>
          <a:ea typeface="Arial" charset="0"/>
          <a:cs typeface="Arial" pitchFamily="34" charset="0"/>
        </a:defRPr>
      </a:lvl5pPr>
      <a:lvl6pPr marL="2993078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37275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081471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25667" indent="-272098" algn="l" defTabSz="1088392" rtl="0" eaLnBrk="1" latinLnBrk="0" hangingPunct="1">
        <a:spcBef>
          <a:spcPct val="20000"/>
        </a:spcBef>
        <a:buFont typeface="Arial" pitchFamily="34" charset="0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1pPr>
      <a:lvl2pPr marL="544196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2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9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5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5pPr>
      <a:lvl6pPr marL="2720980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6pPr>
      <a:lvl7pPr marL="3265176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7pPr>
      <a:lvl8pPr marL="3809373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8pPr>
      <a:lvl9pPr marL="4353569" algn="l" defTabSz="1088392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onarsource.bintray.com/Distribution/sonar-scanner-cli/sonar-scanner-2.8.zip" TargetMode="External"/><Relationship Id="rId2" Type="http://schemas.openxmlformats.org/officeDocument/2006/relationships/hyperlink" Target="https://www.sonarqube.org/downloads/" TargetMode="External"/><Relationship Id="rId1" Type="http://schemas.openxmlformats.org/officeDocument/2006/relationships/slideLayout" Target="../slideLayouts/slideLayout26.xml"/><Relationship Id="rId4" Type="http://schemas.openxmlformats.org/officeDocument/2006/relationships/hyperlink" Target="http://localhost:9000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09698" y="1301233"/>
            <a:ext cx="667135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IN" sz="3200" cap="all" dirty="0" err="1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onarqube</a:t>
            </a:r>
            <a:endParaRPr lang="en-IN" sz="3200" cap="all" dirty="0" smtClean="0">
              <a:solidFill>
                <a:srgbClr val="000000">
                  <a:lumMod val="75000"/>
                  <a:lumOff val="25000"/>
                </a:srgbClr>
              </a:solidFill>
            </a:endParaRPr>
          </a:p>
          <a:p>
            <a:pPr algn="ctr" defTabSz="914377"/>
            <a:r>
              <a:rPr lang="en-IN" sz="3200" cap="all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Quick setup guide</a:t>
            </a:r>
          </a:p>
        </p:txBody>
      </p:sp>
    </p:spTree>
    <p:extLst>
      <p:ext uri="{BB962C8B-B14F-4D97-AF65-F5344CB8AC3E}">
        <p14:creationId xmlns:p14="http://schemas.microsoft.com/office/powerpoint/2010/main" val="47121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auto">
          <a:xfrm>
            <a:off x="268941" y="1299"/>
            <a:ext cx="11923059" cy="637330"/>
          </a:xfrm>
          <a:prstGeom prst="rect">
            <a:avLst/>
          </a:prstGeom>
          <a:extLst/>
        </p:spPr>
        <p:txBody>
          <a:bodyPr lIns="110063" tIns="55081" rIns="110063" bIns="55081" anchor="ctr"/>
          <a:lstStyle>
            <a:lvl1pPr defTabSz="9125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>
                    <a:lumMod val="75000"/>
                  </a:schemeClr>
                </a:solidFill>
                <a:latin typeface="Trebuchet MS" pitchFamily="34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421636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843392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1265117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1686823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400" b="0" dirty="0" smtClean="0">
                <a:solidFill>
                  <a:prstClr val="black"/>
                </a:solidFill>
                <a:latin typeface="Calibri" panose="020F0502020204030204" pitchFamily="34" charset="0"/>
              </a:rPr>
              <a:t>Installation of </a:t>
            </a:r>
            <a:r>
              <a:rPr lang="en-US" sz="2400" b="0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SonarQube</a:t>
            </a:r>
            <a:r>
              <a:rPr lang="en-US" sz="2400" b="0" dirty="0" smtClean="0">
                <a:solidFill>
                  <a:prstClr val="black"/>
                </a:solidFill>
                <a:latin typeface="Calibri" panose="020F0502020204030204" pitchFamily="34" charset="0"/>
              </a:rPr>
              <a:t> in Windows</a:t>
            </a:r>
            <a:endParaRPr lang="en-US" sz="2400" b="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207595" y="1457801"/>
            <a:ext cx="44931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www.sonarqube.org/downloads</a:t>
            </a:r>
            <a:r>
              <a:rPr lang="en-US" dirty="0" smtClean="0">
                <a:hlinkClick r:id="rId2"/>
              </a:rPr>
              <a:t>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01444" y="1048215"/>
            <a:ext cx="4450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. Download &amp; </a:t>
            </a:r>
            <a:r>
              <a:rPr lang="en-US" dirty="0"/>
              <a:t>extract sonarqube-6.2.zip</a:t>
            </a:r>
          </a:p>
        </p:txBody>
      </p:sp>
      <p:sp>
        <p:nvSpPr>
          <p:cNvPr id="8" name="Rectangle 7"/>
          <p:cNvSpPr/>
          <p:nvPr/>
        </p:nvSpPr>
        <p:spPr>
          <a:xfrm>
            <a:off x="947854" y="3286826"/>
            <a:ext cx="101476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sonarsource.bintray.com/Distribution/sonar-scanner-cli/sonar-scanner-2.8.zip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01444" y="2877240"/>
            <a:ext cx="48237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. Download &amp; </a:t>
            </a:r>
            <a:r>
              <a:rPr lang="en-US" dirty="0"/>
              <a:t>extract </a:t>
            </a:r>
            <a:r>
              <a:rPr lang="en-US" dirty="0" smtClean="0"/>
              <a:t>sonar-scanner-2.8.zip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47854" y="1872068"/>
            <a:ext cx="83522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1.1 Launch </a:t>
            </a:r>
            <a:r>
              <a:rPr lang="en-US" sz="1400" dirty="0" err="1" smtClean="0"/>
              <a:t>SonarQube</a:t>
            </a:r>
            <a:r>
              <a:rPr lang="en-US" sz="1400" dirty="0" smtClean="0"/>
              <a:t> server using the appropriate batch file.</a:t>
            </a:r>
          </a:p>
          <a:p>
            <a:r>
              <a:rPr lang="en-US" sz="1400" dirty="0"/>
              <a:t> </a:t>
            </a:r>
            <a:r>
              <a:rPr lang="en-US" sz="1400" dirty="0" smtClean="0"/>
              <a:t>&lt;&lt;</a:t>
            </a:r>
            <a:r>
              <a:rPr lang="en-US" sz="1400" dirty="0" err="1" smtClean="0"/>
              <a:t>SONARQUBE_HOME</a:t>
            </a:r>
            <a:r>
              <a:rPr lang="en-US" sz="1400" dirty="0" smtClean="0"/>
              <a:t>&gt;&gt;\bin\windows-x86-64\StartSonar.bat</a:t>
            </a:r>
          </a:p>
          <a:p>
            <a:r>
              <a:rPr lang="en-US" sz="1400" dirty="0" smtClean="0"/>
              <a:t>1.2 Once started, Sonar server shall be accessible using </a:t>
            </a:r>
            <a:r>
              <a:rPr lang="en-US" sz="1400" dirty="0" smtClean="0">
                <a:hlinkClick r:id="rId4"/>
              </a:rPr>
              <a:t>http://localhost:9000/</a:t>
            </a:r>
            <a:r>
              <a:rPr lang="en-US" sz="1400" dirty="0" smtClean="0"/>
              <a:t> </a:t>
            </a:r>
          </a:p>
          <a:p>
            <a:r>
              <a:rPr lang="en-US" sz="1400" dirty="0" smtClean="0"/>
              <a:t>1.3 To login use admin/admin as user name &amp; password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947853" y="3808814"/>
            <a:ext cx="83522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dirty="0" smtClean="0"/>
              <a:t>.1  Add the  Sonar scanner bin folder to PATH variable</a:t>
            </a:r>
          </a:p>
          <a:p>
            <a:r>
              <a:rPr lang="en-US" sz="1400" dirty="0" smtClean="0"/>
              <a:t>&lt;&lt;</a:t>
            </a:r>
            <a:r>
              <a:rPr lang="en-US" sz="1400" dirty="0" err="1" smtClean="0"/>
              <a:t>SONARSCANNER_HOME</a:t>
            </a:r>
            <a:r>
              <a:rPr lang="en-US" sz="1400" dirty="0" smtClean="0"/>
              <a:t>&gt;&gt;\bin </a:t>
            </a:r>
          </a:p>
          <a:p>
            <a:r>
              <a:rPr lang="en-US" sz="1400" dirty="0"/>
              <a:t>2.2 Update the </a:t>
            </a:r>
            <a:r>
              <a:rPr lang="en-US" sz="1400" dirty="0" smtClean="0"/>
              <a:t>sonar.host.url to http</a:t>
            </a:r>
            <a:r>
              <a:rPr lang="en-US" sz="1400" dirty="0"/>
              <a:t>://</a:t>
            </a:r>
            <a:r>
              <a:rPr lang="en-US" sz="1400" dirty="0" smtClean="0"/>
              <a:t>localhost:9000 in </a:t>
            </a:r>
            <a:r>
              <a:rPr lang="en-US" sz="1400" dirty="0"/>
              <a:t>the </a:t>
            </a:r>
            <a:r>
              <a:rPr lang="en-US" sz="1400" dirty="0" smtClean="0"/>
              <a:t>sonar-</a:t>
            </a:r>
            <a:r>
              <a:rPr lang="en-US" sz="1400" dirty="0" err="1" smtClean="0"/>
              <a:t>scanner.properties</a:t>
            </a:r>
            <a:r>
              <a:rPr lang="en-US" sz="1400" dirty="0" smtClean="0"/>
              <a:t> under &lt;&lt;</a:t>
            </a:r>
            <a:r>
              <a:rPr lang="en-US" sz="1400" dirty="0" err="1" smtClean="0"/>
              <a:t>SONARSCANNER_HOME</a:t>
            </a:r>
            <a:r>
              <a:rPr lang="en-US" sz="1400" dirty="0" smtClean="0"/>
              <a:t>&gt;&gt;\</a:t>
            </a:r>
            <a:r>
              <a:rPr lang="en-US" sz="1400" dirty="0" err="1" smtClean="0"/>
              <a:t>conf</a:t>
            </a:r>
            <a:r>
              <a:rPr lang="en-US" sz="1400" dirty="0" smtClean="0"/>
              <a:t> folder </a:t>
            </a:r>
          </a:p>
        </p:txBody>
      </p:sp>
    </p:spTree>
    <p:extLst>
      <p:ext uri="{BB962C8B-B14F-4D97-AF65-F5344CB8AC3E}">
        <p14:creationId xmlns:p14="http://schemas.microsoft.com/office/powerpoint/2010/main" val="2267687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328382" y="1195970"/>
            <a:ext cx="995831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200" dirty="0"/>
          </a:p>
          <a:p>
            <a:r>
              <a:rPr lang="en-US" sz="1200" dirty="0"/>
              <a:t># must be unique in a given </a:t>
            </a:r>
            <a:r>
              <a:rPr lang="en-US" sz="1200" dirty="0" err="1"/>
              <a:t>SonarQube</a:t>
            </a:r>
            <a:r>
              <a:rPr lang="en-US" sz="1200" dirty="0"/>
              <a:t> instance</a:t>
            </a:r>
          </a:p>
          <a:p>
            <a:endParaRPr lang="en-US" sz="1200" dirty="0"/>
          </a:p>
          <a:p>
            <a:r>
              <a:rPr lang="en-US" sz="1200" dirty="0" err="1"/>
              <a:t>sonar.projectKey</a:t>
            </a:r>
            <a:r>
              <a:rPr lang="en-US" sz="1200" dirty="0"/>
              <a:t>=</a:t>
            </a:r>
            <a:r>
              <a:rPr lang="en-US" sz="1200" dirty="0" err="1"/>
              <a:t>my:project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# this is the name and version displayed in the </a:t>
            </a:r>
            <a:r>
              <a:rPr lang="en-US" sz="1200" dirty="0" err="1"/>
              <a:t>SonarQube</a:t>
            </a:r>
            <a:r>
              <a:rPr lang="en-US" sz="1200" dirty="0"/>
              <a:t> UI. Was mandatory prior to </a:t>
            </a:r>
            <a:r>
              <a:rPr lang="en-US" sz="1200" dirty="0" err="1"/>
              <a:t>SonarQube</a:t>
            </a:r>
            <a:r>
              <a:rPr lang="en-US" sz="1200" dirty="0"/>
              <a:t> 6.1.</a:t>
            </a:r>
          </a:p>
          <a:p>
            <a:endParaRPr lang="en-US" sz="1200" dirty="0"/>
          </a:p>
          <a:p>
            <a:r>
              <a:rPr lang="en-US" sz="1200" dirty="0" err="1"/>
              <a:t>sonar.projectName</a:t>
            </a:r>
            <a:r>
              <a:rPr lang="en-US" sz="1200" dirty="0"/>
              <a:t>=My project</a:t>
            </a:r>
          </a:p>
          <a:p>
            <a:endParaRPr lang="en-US" sz="1200" dirty="0"/>
          </a:p>
          <a:p>
            <a:r>
              <a:rPr lang="en-US" sz="1200" dirty="0" err="1"/>
              <a:t>sonar.projectVersion</a:t>
            </a:r>
            <a:r>
              <a:rPr lang="en-US" sz="1200" dirty="0"/>
              <a:t>=1.0</a:t>
            </a:r>
          </a:p>
          <a:p>
            <a:r>
              <a:rPr lang="en-US" sz="1200" dirty="0" smtClean="0"/>
              <a:t> 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# Path is relative to the sonar-</a:t>
            </a:r>
            <a:r>
              <a:rPr lang="en-US" sz="1200" dirty="0" err="1"/>
              <a:t>project.properties</a:t>
            </a:r>
            <a:r>
              <a:rPr lang="en-US" sz="1200" dirty="0"/>
              <a:t> file. Replace "\" by "/" on Windows.</a:t>
            </a:r>
          </a:p>
          <a:p>
            <a:endParaRPr lang="en-US" sz="1200" dirty="0"/>
          </a:p>
          <a:p>
            <a:r>
              <a:rPr lang="en-US" sz="1200" dirty="0"/>
              <a:t># Since </a:t>
            </a:r>
            <a:r>
              <a:rPr lang="en-US" sz="1200" dirty="0" err="1"/>
              <a:t>SonarQube</a:t>
            </a:r>
            <a:r>
              <a:rPr lang="en-US" sz="1200" dirty="0"/>
              <a:t> 4.2, this property is optional if </a:t>
            </a:r>
            <a:r>
              <a:rPr lang="en-US" sz="1200" dirty="0" err="1"/>
              <a:t>sonar.modules</a:t>
            </a:r>
            <a:r>
              <a:rPr lang="en-US" sz="1200" dirty="0"/>
              <a:t> is set. </a:t>
            </a:r>
          </a:p>
          <a:p>
            <a:endParaRPr lang="en-US" sz="1200" dirty="0"/>
          </a:p>
          <a:p>
            <a:r>
              <a:rPr lang="en-US" sz="1200" dirty="0"/>
              <a:t># If not set, </a:t>
            </a:r>
            <a:r>
              <a:rPr lang="en-US" sz="1200" dirty="0" err="1"/>
              <a:t>SonarQube</a:t>
            </a:r>
            <a:r>
              <a:rPr lang="en-US" sz="1200" dirty="0"/>
              <a:t> starts looking for source code from the directory containing </a:t>
            </a:r>
          </a:p>
          <a:p>
            <a:endParaRPr lang="en-US" sz="1200" dirty="0"/>
          </a:p>
          <a:p>
            <a:r>
              <a:rPr lang="en-US" sz="1200" dirty="0"/>
              <a:t># the sonar-</a:t>
            </a:r>
            <a:r>
              <a:rPr lang="en-US" sz="1200" dirty="0" err="1"/>
              <a:t>project.properties</a:t>
            </a:r>
            <a:r>
              <a:rPr lang="en-US" sz="1200" dirty="0"/>
              <a:t> file.</a:t>
            </a:r>
          </a:p>
          <a:p>
            <a:endParaRPr lang="en-US" sz="1200" dirty="0"/>
          </a:p>
          <a:p>
            <a:r>
              <a:rPr lang="en-US" sz="1200" dirty="0" err="1"/>
              <a:t>sonar.sources</a:t>
            </a:r>
            <a:r>
              <a:rPr lang="en-US" sz="1200" dirty="0"/>
              <a:t>=.</a:t>
            </a:r>
          </a:p>
          <a:p>
            <a:r>
              <a:rPr lang="en-US" sz="1200" dirty="0" smtClean="0"/>
              <a:t> </a:t>
            </a:r>
            <a:endParaRPr lang="en-US" sz="1200" dirty="0"/>
          </a:p>
          <a:p>
            <a:r>
              <a:rPr lang="en-US" sz="1200" dirty="0"/>
              <a:t># Encoding of the source code. Default is default system encoding</a:t>
            </a:r>
          </a:p>
          <a:p>
            <a:endParaRPr lang="en-US" sz="1200" dirty="0"/>
          </a:p>
          <a:p>
            <a:r>
              <a:rPr lang="en-US" sz="1200" dirty="0"/>
              <a:t>#</a:t>
            </a:r>
            <a:r>
              <a:rPr lang="en-US" sz="1200" dirty="0" err="1"/>
              <a:t>sonar.sourceEncoding</a:t>
            </a:r>
            <a:r>
              <a:rPr lang="en-US" sz="1200" dirty="0"/>
              <a:t>=UTF-8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97477" y="888193"/>
            <a:ext cx="100112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2.3  Create the sonar-</a:t>
            </a:r>
            <a:r>
              <a:rPr lang="en-US" sz="1400" dirty="0" err="1" smtClean="0"/>
              <a:t>project.properties</a:t>
            </a:r>
            <a:r>
              <a:rPr lang="en-US" sz="1400" dirty="0" smtClean="0"/>
              <a:t> file as follows under the root directory of your project (inside project folder)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97477" y="5904951"/>
            <a:ext cx="100112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2.4  Go to the command prompt where the project is present &amp; run the command sonar-scanner </a:t>
            </a:r>
          </a:p>
          <a:p>
            <a:endParaRPr lang="en-US" sz="1400" dirty="0"/>
          </a:p>
          <a:p>
            <a:r>
              <a:rPr lang="en-US" sz="1400" dirty="0" smtClean="0"/>
              <a:t>This will run the analysis and the results will be available in the http://localhost:9000</a:t>
            </a:r>
          </a:p>
        </p:txBody>
      </p:sp>
      <p:sp>
        <p:nvSpPr>
          <p:cNvPr id="5" name="Title 2"/>
          <p:cNvSpPr txBox="1">
            <a:spLocks/>
          </p:cNvSpPr>
          <p:nvPr/>
        </p:nvSpPr>
        <p:spPr bwMode="auto">
          <a:xfrm>
            <a:off x="268941" y="1299"/>
            <a:ext cx="11923059" cy="637330"/>
          </a:xfrm>
          <a:prstGeom prst="rect">
            <a:avLst/>
          </a:prstGeom>
          <a:extLst/>
        </p:spPr>
        <p:txBody>
          <a:bodyPr lIns="110063" tIns="55081" rIns="110063" bIns="55081" anchor="ctr"/>
          <a:lstStyle>
            <a:lvl1pPr defTabSz="9125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>
                    <a:lumMod val="75000"/>
                  </a:schemeClr>
                </a:solidFill>
                <a:latin typeface="Trebuchet MS" pitchFamily="34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421636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843392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1265117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1686823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400" b="0" dirty="0" smtClean="0">
                <a:solidFill>
                  <a:prstClr val="black"/>
                </a:solidFill>
                <a:latin typeface="Calibri" panose="020F0502020204030204" pitchFamily="34" charset="0"/>
              </a:rPr>
              <a:t>Running the analysis</a:t>
            </a:r>
            <a:endParaRPr lang="en-US" sz="2400" b="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991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746" y="703030"/>
            <a:ext cx="11285731" cy="6014650"/>
          </a:xfrm>
          <a:prstGeom prst="rect">
            <a:avLst/>
          </a:prstGeom>
        </p:spPr>
      </p:pic>
      <p:sp>
        <p:nvSpPr>
          <p:cNvPr id="3" name="Title 2"/>
          <p:cNvSpPr txBox="1">
            <a:spLocks/>
          </p:cNvSpPr>
          <p:nvPr/>
        </p:nvSpPr>
        <p:spPr bwMode="auto">
          <a:xfrm>
            <a:off x="268941" y="1299"/>
            <a:ext cx="11923059" cy="637330"/>
          </a:xfrm>
          <a:prstGeom prst="rect">
            <a:avLst/>
          </a:prstGeom>
          <a:extLst/>
        </p:spPr>
        <p:txBody>
          <a:bodyPr lIns="110063" tIns="55081" rIns="110063" bIns="55081" anchor="ctr"/>
          <a:lstStyle>
            <a:lvl1pPr defTabSz="9125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>
                    <a:lumMod val="75000"/>
                  </a:schemeClr>
                </a:solidFill>
                <a:latin typeface="Trebuchet MS" pitchFamily="34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421636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843392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1265117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1686823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400" b="0" dirty="0" smtClean="0">
                <a:solidFill>
                  <a:prstClr val="black"/>
                </a:solidFill>
                <a:latin typeface="Calibri" panose="020F0502020204030204" pitchFamily="34" charset="0"/>
              </a:rPr>
              <a:t>Dashboard</a:t>
            </a:r>
            <a:endParaRPr lang="en-US" sz="2400" b="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012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956" y="746376"/>
            <a:ext cx="10917044" cy="5818161"/>
          </a:xfrm>
          <a:prstGeom prst="rect">
            <a:avLst/>
          </a:prstGeom>
        </p:spPr>
      </p:pic>
      <p:sp>
        <p:nvSpPr>
          <p:cNvPr id="4" name="Title 2"/>
          <p:cNvSpPr txBox="1">
            <a:spLocks/>
          </p:cNvSpPr>
          <p:nvPr/>
        </p:nvSpPr>
        <p:spPr bwMode="auto">
          <a:xfrm>
            <a:off x="268941" y="1299"/>
            <a:ext cx="11923059" cy="637330"/>
          </a:xfrm>
          <a:prstGeom prst="rect">
            <a:avLst/>
          </a:prstGeom>
          <a:extLst/>
        </p:spPr>
        <p:txBody>
          <a:bodyPr lIns="110063" tIns="55081" rIns="110063" bIns="55081" anchor="ctr"/>
          <a:lstStyle>
            <a:lvl1pPr defTabSz="9125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>
                    <a:lumMod val="75000"/>
                  </a:schemeClr>
                </a:solidFill>
                <a:latin typeface="Trebuchet MS" pitchFamily="34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421636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843392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1265117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1686823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400" b="0" dirty="0" smtClean="0">
                <a:solidFill>
                  <a:prstClr val="black"/>
                </a:solidFill>
                <a:latin typeface="Calibri" panose="020F0502020204030204" pitchFamily="34" charset="0"/>
              </a:rPr>
              <a:t>Bugs list</a:t>
            </a:r>
            <a:endParaRPr lang="en-US" sz="2400" b="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74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235" y="837407"/>
            <a:ext cx="11296882" cy="6020593"/>
          </a:xfrm>
          <a:prstGeom prst="rect">
            <a:avLst/>
          </a:prstGeom>
        </p:spPr>
      </p:pic>
      <p:sp>
        <p:nvSpPr>
          <p:cNvPr id="3" name="Title 2"/>
          <p:cNvSpPr txBox="1">
            <a:spLocks/>
          </p:cNvSpPr>
          <p:nvPr/>
        </p:nvSpPr>
        <p:spPr bwMode="auto">
          <a:xfrm>
            <a:off x="268941" y="1299"/>
            <a:ext cx="11923059" cy="637330"/>
          </a:xfrm>
          <a:prstGeom prst="rect">
            <a:avLst/>
          </a:prstGeom>
          <a:extLst/>
        </p:spPr>
        <p:txBody>
          <a:bodyPr lIns="110063" tIns="55081" rIns="110063" bIns="55081" anchor="ctr"/>
          <a:lstStyle>
            <a:lvl1pPr defTabSz="9125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>
                    <a:lumMod val="75000"/>
                  </a:schemeClr>
                </a:solidFill>
                <a:latin typeface="Trebuchet MS" pitchFamily="34" charset="0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5pPr>
            <a:lvl6pPr marL="421636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6pPr>
            <a:lvl7pPr marL="843392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7pPr>
            <a:lvl8pPr marL="1265117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8pPr>
            <a:lvl9pPr marL="1686823" algn="ctr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400" b="0" dirty="0" smtClean="0">
                <a:solidFill>
                  <a:prstClr val="black"/>
                </a:solidFill>
                <a:latin typeface="Calibri" panose="020F0502020204030204" pitchFamily="34" charset="0"/>
              </a:rPr>
              <a:t>Duplicate code</a:t>
            </a:r>
            <a:endParaRPr lang="en-US" sz="2400" b="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850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165" y="845465"/>
            <a:ext cx="10516297" cy="56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217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400288" y="2056500"/>
            <a:ext cx="6826016" cy="666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IN" sz="3733" cap="all" dirty="0">
                <a:solidFill>
                  <a:srgbClr val="000000">
                    <a:lumMod val="75000"/>
                    <a:lumOff val="25000"/>
                  </a:srgbClr>
                </a:solidFill>
              </a:rPr>
              <a:t>Thank You</a:t>
            </a:r>
            <a:endParaRPr lang="en-IN" sz="37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66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Presentatio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nk Presentatio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&amp;T Theme 2">
  <a:themeElements>
    <a:clrScheme name="L&amp;T Colors">
      <a:dk1>
        <a:srgbClr val="000000"/>
      </a:dk1>
      <a:lt1>
        <a:srgbClr val="FFFFFF"/>
      </a:lt1>
      <a:dk2>
        <a:srgbClr val="00B0F0"/>
      </a:dk2>
      <a:lt2>
        <a:srgbClr val="004581"/>
      </a:lt2>
      <a:accent1>
        <a:srgbClr val="0556CD"/>
      </a:accent1>
      <a:accent2>
        <a:srgbClr val="058EFF"/>
      </a:accent2>
      <a:accent3>
        <a:srgbClr val="FFCC29"/>
      </a:accent3>
      <a:accent4>
        <a:srgbClr val="F7411D"/>
      </a:accent4>
      <a:accent5>
        <a:srgbClr val="1A9664"/>
      </a:accent5>
      <a:accent6>
        <a:srgbClr val="DA8200"/>
      </a:accent6>
      <a:hlink>
        <a:srgbClr val="7BD3F7"/>
      </a:hlink>
      <a:folHlink>
        <a:srgbClr val="0769F9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lank Presentatio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nk Presentatio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Custom Design">
  <a:themeElements>
    <a:clrScheme name="JeldWen 2015 Colors 2">
      <a:dk1>
        <a:sysClr val="windowText" lastClr="000000"/>
      </a:dk1>
      <a:lt1>
        <a:sysClr val="window" lastClr="FFFFFF"/>
      </a:lt1>
      <a:dk2>
        <a:srgbClr val="519CBB"/>
      </a:dk2>
      <a:lt2>
        <a:srgbClr val="909093"/>
      </a:lt2>
      <a:accent1>
        <a:srgbClr val="1D446B"/>
      </a:accent1>
      <a:accent2>
        <a:srgbClr val="005581"/>
      </a:accent2>
      <a:accent3>
        <a:srgbClr val="565A5B"/>
      </a:accent3>
      <a:accent4>
        <a:srgbClr val="512B1B"/>
      </a:accent4>
      <a:accent5>
        <a:srgbClr val="948A54"/>
      </a:accent5>
      <a:accent6>
        <a:srgbClr val="1A2731"/>
      </a:accent6>
      <a:hlink>
        <a:srgbClr val="2457B2"/>
      </a:hlink>
      <a:folHlink>
        <a:srgbClr val="4373E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75000"/>
            <a:lumOff val="2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baseline="0" dirty="0" smtClean="0">
            <a:solidFill>
              <a:srgbClr val="004369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JeldWen 2015 Colors 2">
      <a:dk1>
        <a:sysClr val="windowText" lastClr="000000"/>
      </a:dk1>
      <a:lt1>
        <a:sysClr val="window" lastClr="FFFFFF"/>
      </a:lt1>
      <a:dk2>
        <a:srgbClr val="519CBB"/>
      </a:dk2>
      <a:lt2>
        <a:srgbClr val="909093"/>
      </a:lt2>
      <a:accent1>
        <a:srgbClr val="1D446B"/>
      </a:accent1>
      <a:accent2>
        <a:srgbClr val="005581"/>
      </a:accent2>
      <a:accent3>
        <a:srgbClr val="565A5B"/>
      </a:accent3>
      <a:accent4>
        <a:srgbClr val="512B1B"/>
      </a:accent4>
      <a:accent5>
        <a:srgbClr val="948A54"/>
      </a:accent5>
      <a:accent6>
        <a:srgbClr val="1A2731"/>
      </a:accent6>
      <a:hlink>
        <a:srgbClr val="2457B2"/>
      </a:hlink>
      <a:folHlink>
        <a:srgbClr val="4373E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75000"/>
            <a:lumOff val="2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baseline="0" dirty="0" smtClean="0">
            <a:solidFill>
              <a:srgbClr val="004369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03</TotalTime>
  <Words>260</Words>
  <Application>Microsoft Office PowerPoint</Application>
  <PresentationFormat>Widescreen</PresentationFormat>
  <Paragraphs>4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MS PGothic</vt:lpstr>
      <vt:lpstr>Arial</vt:lpstr>
      <vt:lpstr>Calibri</vt:lpstr>
      <vt:lpstr>Times</vt:lpstr>
      <vt:lpstr>Trebuchet MS</vt:lpstr>
      <vt:lpstr>Wingdings</vt:lpstr>
      <vt:lpstr>ヒラギノ角ゴ Pro W3</vt:lpstr>
      <vt:lpstr>1_Blank Presentation</vt:lpstr>
      <vt:lpstr>L&amp;T Theme 2</vt:lpstr>
      <vt:lpstr>2_Blank Presentation</vt:lpstr>
      <vt:lpstr>2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L&amp;T - I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unprabhakar M</dc:creator>
  <cp:lastModifiedBy>Karthikeyan PJ.</cp:lastModifiedBy>
  <cp:revision>1249</cp:revision>
  <dcterms:created xsi:type="dcterms:W3CDTF">2016-04-29T07:02:48Z</dcterms:created>
  <dcterms:modified xsi:type="dcterms:W3CDTF">2017-03-14T12:53:53Z</dcterms:modified>
</cp:coreProperties>
</file>